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modernComment_7FFFF968_1F88548.xml" ContentType="application/vnd.ms-powerpoint.comments+xml"/>
  <Override PartName="/ppt/comments/modernComment_7FFFF96C_24EDD67.xml" ContentType="application/vnd.ms-powerpoint.comments+xml"/>
  <Override PartName="/ppt/comments/modernComment_7FFFF964_25EF7FE4.xml" ContentType="application/vnd.ms-powerpoint.comments+xml"/>
  <Override PartName="/ppt/notesSlides/notesSlide2.xml" ContentType="application/vnd.openxmlformats-officedocument.presentationml.notesSlide+xml"/>
  <Override PartName="/ppt/comments/modernComment_7FFFF96B_A64FB751.xml" ContentType="application/vnd.ms-powerpoint.comments+xml"/>
  <Override PartName="/ppt/notesSlides/notesSlide3.xml" ContentType="application/vnd.openxmlformats-officedocument.presentationml.notesSlide+xml"/>
  <Override PartName="/ppt/comments/modernComment_7FFFF969_F20EA9AA.xml" ContentType="application/vnd.ms-powerpoint.comment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30" r:id="rId5"/>
  </p:sldMasterIdLst>
  <p:notesMasterIdLst>
    <p:notesMasterId r:id="rId16"/>
  </p:notesMasterIdLst>
  <p:sldIdLst>
    <p:sldId id="2147474973" r:id="rId6"/>
    <p:sldId id="2147481960" r:id="rId7"/>
    <p:sldId id="2147481964" r:id="rId8"/>
    <p:sldId id="2147481956" r:id="rId9"/>
    <p:sldId id="2147481963" r:id="rId10"/>
    <p:sldId id="2147481959" r:id="rId11"/>
    <p:sldId id="2147481957" r:id="rId12"/>
    <p:sldId id="2147481966" r:id="rId13"/>
    <p:sldId id="2147481965" r:id="rId14"/>
    <p:sldId id="2147481961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75A616-DD4E-529F-C0EF-C4D2005D61DF}" name="Jagannatha, Shyla [JRDUS]" initials="JS" userId="S::sjagann4@its.jnj.com::43342fde-24cc-4783-9ca3-f99b582bb82e" providerId="AD"/>
  <p188:author id="{7DB85B5F-9EDE-5ED4-D59A-6A8AD389DA81}" name="Trombello, Joseph   [JRDUS]" initials="JT" userId="S::JTrombel@its.jnj.com::a8f03ad8-476b-4712-a174-99725fda6d2b" providerId="AD"/>
  <p188:author id="{D2458071-9BE9-9F81-6209-7B6AA8BCF34A}" name="Hulstaert, Lars [RNDBE]" initials="LH" userId="S::LHulsta1@its.jnj.com::7cd61295-02dc-43fe-99c3-25fcac0d47f3" providerId="AD"/>
  <p188:author id="{503E3A8D-AB0F-F1D3-708E-AE3DCA97C001}" name="Eerdekens, Els [JRDBE]" initials="EE" userId="S::eeerdeke@its.jnj.com::ef7fae2e-6877-4590-a341-05d031b32498" providerId="AD"/>
  <p188:author id="{D1AD959B-D48F-67D6-DD20-4657C8222E9F}" name="Canuso, Carla M [JRDUS]" initials="C[" userId="S::ccanuso@its.jnj.com::200293af-61ca-453d-b535-fd959b92d843" providerId="AD"/>
  <p188:author id="{A9B459A1-6068-AD7E-D1DC-4E913F5ADE50}" name="Oztop, Ilker [JRDUS]" initials="O[" userId="S::ioztop@its.jnj.com::955f0eb3-88e0-4116-82d5-4ca98c876346" providerId="AD"/>
  <p188:author id="{C33FBDA7-85BC-03AE-9C07-4DA85310FB3E}" name="Hulstaert, Lars [RNDBE]" initials="H[" userId="S::lhulsta1@its.jnj.com::7cd61295-02dc-43fe-99c3-25fcac0d47f3" providerId="AD"/>
  <p188:author id="{D835E5A8-4BC7-F27F-E84A-9BAA8586AED5}" name="Kasuba, Asma [JRDUS]" initials="AK" userId="S::AKasuba@its.jnj.com::f1581866-4eb0-4441-a610-27f1e5b5a0d0" providerId="AD"/>
  <p188:author id="{EB366CB8-72BE-3293-7D71-8749D85B39AF}" name="Bhattacharya, Sanghita [ETHUS]" initials="BS[" userId="S::SBhatt71@its.jnj.com::f21246e9-a909-4056-8400-4186ec58c855" providerId="AD"/>
  <p188:author id="{1E82EEBE-6E99-048A-AFE8-3D3EC74D5F01}" name="Mcnulty, Erin [JRDUS]" initials="M[" userId="S::emcnulty@its.jnj.com::04dff056-c108-4033-9bf6-106196cdf03e" providerId="AD"/>
  <p188:author id="{0AE6FDCB-22B9-970D-6C89-8D83236B06ED}" name="Wong, Jacklynn [JRDUS]" initials="JW" userId="S::JWong68@its.jnj.com::7f69d310-548d-4a49-a1ef-181020596fba" providerId="AD"/>
  <p188:author id="{55AE54D2-58E8-3CA2-606D-E115E3167169}" name="Pinheiro, Jose [JRDUS]" initials="JP" userId="S::JPinhei1@its.jnj.com::68813894-95e5-4957-b01d-d8b55920d0d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E843704-E5DE-4224-A7F7-8174C40B4F00}" v="1" dt="2025-05-08T14:18:04.5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76" y="1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en, Fei [JRDUS]" userId="d53dd1e8-3541-460e-afeb-fadcbd23f836" providerId="ADAL" clId="{FE843704-E5DE-4224-A7F7-8174C40B4F00}"/>
    <pc:docChg chg="undo custSel addSld delSld modSld">
      <pc:chgData name="Chen, Fei [JRDUS]" userId="d53dd1e8-3541-460e-afeb-fadcbd23f836" providerId="ADAL" clId="{FE843704-E5DE-4224-A7F7-8174C40B4F00}" dt="2025-05-08T14:19:39.191" v="544" actId="20577"/>
      <pc:docMkLst>
        <pc:docMk/>
      </pc:docMkLst>
      <pc:sldChg chg="delSp mod">
        <pc:chgData name="Chen, Fei [JRDUS]" userId="d53dd1e8-3541-460e-afeb-fadcbd23f836" providerId="ADAL" clId="{FE843704-E5DE-4224-A7F7-8174C40B4F00}" dt="2025-05-08T14:15:50.377" v="425" actId="478"/>
        <pc:sldMkLst>
          <pc:docMk/>
          <pc:sldMk cId="636452836" sldId="2147481956"/>
        </pc:sldMkLst>
        <pc:spChg chg="del">
          <ac:chgData name="Chen, Fei [JRDUS]" userId="d53dd1e8-3541-460e-afeb-fadcbd23f836" providerId="ADAL" clId="{FE843704-E5DE-4224-A7F7-8174C40B4F00}" dt="2025-05-08T14:15:50.377" v="425" actId="478"/>
          <ac:spMkLst>
            <pc:docMk/>
            <pc:sldMk cId="636452836" sldId="2147481956"/>
            <ac:spMk id="4" creationId="{716B9054-54E5-55BF-E03C-32707557EC74}"/>
          </ac:spMkLst>
        </pc:spChg>
      </pc:sldChg>
      <pc:sldChg chg="delSp mod">
        <pc:chgData name="Chen, Fei [JRDUS]" userId="d53dd1e8-3541-460e-afeb-fadcbd23f836" providerId="ADAL" clId="{FE843704-E5DE-4224-A7F7-8174C40B4F00}" dt="2025-05-08T14:15:58.288" v="428" actId="478"/>
        <pc:sldMkLst>
          <pc:docMk/>
          <pc:sldMk cId="144880773" sldId="2147481957"/>
        </pc:sldMkLst>
        <pc:spChg chg="del">
          <ac:chgData name="Chen, Fei [JRDUS]" userId="d53dd1e8-3541-460e-afeb-fadcbd23f836" providerId="ADAL" clId="{FE843704-E5DE-4224-A7F7-8174C40B4F00}" dt="2025-05-08T14:15:58.288" v="428" actId="478"/>
          <ac:spMkLst>
            <pc:docMk/>
            <pc:sldMk cId="144880773" sldId="2147481957"/>
            <ac:spMk id="4" creationId="{A3C8DE98-9AFB-532E-1594-8E9BD8B7FDE1}"/>
          </ac:spMkLst>
        </pc:spChg>
      </pc:sldChg>
      <pc:sldChg chg="delSp mod">
        <pc:chgData name="Chen, Fei [JRDUS]" userId="d53dd1e8-3541-460e-afeb-fadcbd23f836" providerId="ADAL" clId="{FE843704-E5DE-4224-A7F7-8174C40B4F00}" dt="2025-05-08T14:15:54.222" v="427" actId="478"/>
        <pc:sldMkLst>
          <pc:docMk/>
          <pc:sldMk cId="2651027149" sldId="2147481959"/>
        </pc:sldMkLst>
        <pc:spChg chg="del">
          <ac:chgData name="Chen, Fei [JRDUS]" userId="d53dd1e8-3541-460e-afeb-fadcbd23f836" providerId="ADAL" clId="{FE843704-E5DE-4224-A7F7-8174C40B4F00}" dt="2025-05-08T14:15:54.222" v="427" actId="478"/>
          <ac:spMkLst>
            <pc:docMk/>
            <pc:sldMk cId="2651027149" sldId="2147481959"/>
            <ac:spMk id="4" creationId="{05C4FD17-2104-B256-F407-C5654BDCC0B2}"/>
          </ac:spMkLst>
        </pc:spChg>
      </pc:sldChg>
      <pc:sldChg chg="modSp mod">
        <pc:chgData name="Chen, Fei [JRDUS]" userId="d53dd1e8-3541-460e-afeb-fadcbd23f836" providerId="ADAL" clId="{FE843704-E5DE-4224-A7F7-8174C40B4F00}" dt="2025-05-08T14:19:39.191" v="544" actId="20577"/>
        <pc:sldMkLst>
          <pc:docMk/>
          <pc:sldMk cId="33064264" sldId="2147481960"/>
        </pc:sldMkLst>
        <pc:spChg chg="mod">
          <ac:chgData name="Chen, Fei [JRDUS]" userId="d53dd1e8-3541-460e-afeb-fadcbd23f836" providerId="ADAL" clId="{FE843704-E5DE-4224-A7F7-8174C40B4F00}" dt="2025-05-08T14:19:39.191" v="544" actId="20577"/>
          <ac:spMkLst>
            <pc:docMk/>
            <pc:sldMk cId="33064264" sldId="2147481960"/>
            <ac:spMk id="5" creationId="{5AA00442-2C3F-696D-7683-A21CD8181C20}"/>
          </ac:spMkLst>
        </pc:spChg>
      </pc:sldChg>
      <pc:sldChg chg="delSp mod">
        <pc:chgData name="Chen, Fei [JRDUS]" userId="d53dd1e8-3541-460e-afeb-fadcbd23f836" providerId="ADAL" clId="{FE843704-E5DE-4224-A7F7-8174C40B4F00}" dt="2025-05-08T14:16:06.880" v="430" actId="478"/>
        <pc:sldMkLst>
          <pc:docMk/>
          <pc:sldMk cId="4061047210" sldId="2147481961"/>
        </pc:sldMkLst>
        <pc:spChg chg="del">
          <ac:chgData name="Chen, Fei [JRDUS]" userId="d53dd1e8-3541-460e-afeb-fadcbd23f836" providerId="ADAL" clId="{FE843704-E5DE-4224-A7F7-8174C40B4F00}" dt="2025-05-08T14:16:06.880" v="430" actId="478"/>
          <ac:spMkLst>
            <pc:docMk/>
            <pc:sldMk cId="4061047210" sldId="2147481961"/>
            <ac:spMk id="4" creationId="{38728CBB-F767-8539-E240-B4ACA5111F11}"/>
          </ac:spMkLst>
        </pc:spChg>
      </pc:sldChg>
      <pc:sldChg chg="modSp del mod">
        <pc:chgData name="Chen, Fei [JRDUS]" userId="d53dd1e8-3541-460e-afeb-fadcbd23f836" providerId="ADAL" clId="{FE843704-E5DE-4224-A7F7-8174C40B4F00}" dt="2025-05-08T13:56:24.071" v="395" actId="47"/>
        <pc:sldMkLst>
          <pc:docMk/>
          <pc:sldMk cId="3021207853" sldId="2147481962"/>
        </pc:sldMkLst>
        <pc:spChg chg="mod">
          <ac:chgData name="Chen, Fei [JRDUS]" userId="d53dd1e8-3541-460e-afeb-fadcbd23f836" providerId="ADAL" clId="{FE843704-E5DE-4224-A7F7-8174C40B4F00}" dt="2025-05-08T13:55:53.906" v="390" actId="20577"/>
          <ac:spMkLst>
            <pc:docMk/>
            <pc:sldMk cId="3021207853" sldId="2147481962"/>
            <ac:spMk id="5" creationId="{517E0AEE-B3A9-62AF-928C-92A44C4B3BA1}"/>
          </ac:spMkLst>
        </pc:spChg>
        <pc:spChg chg="mod">
          <ac:chgData name="Chen, Fei [JRDUS]" userId="d53dd1e8-3541-460e-afeb-fadcbd23f836" providerId="ADAL" clId="{FE843704-E5DE-4224-A7F7-8174C40B4F00}" dt="2025-05-08T13:55:33.050" v="344" actId="14100"/>
          <ac:spMkLst>
            <pc:docMk/>
            <pc:sldMk cId="3021207853" sldId="2147481962"/>
            <ac:spMk id="13" creationId="{5B2955FB-B64D-3C69-32F6-0A7167F51AA8}"/>
          </ac:spMkLst>
        </pc:spChg>
      </pc:sldChg>
      <pc:sldChg chg="delSp modSp mod modCm">
        <pc:chgData name="Chen, Fei [JRDUS]" userId="d53dd1e8-3541-460e-afeb-fadcbd23f836" providerId="ADAL" clId="{FE843704-E5DE-4224-A7F7-8174C40B4F00}" dt="2025-05-08T14:15:52.091" v="426" actId="478"/>
        <pc:sldMkLst>
          <pc:docMk/>
          <pc:sldMk cId="2790242129" sldId="2147481963"/>
        </pc:sldMkLst>
        <pc:spChg chg="del">
          <ac:chgData name="Chen, Fei [JRDUS]" userId="d53dd1e8-3541-460e-afeb-fadcbd23f836" providerId="ADAL" clId="{FE843704-E5DE-4224-A7F7-8174C40B4F00}" dt="2025-05-08T14:15:52.091" v="426" actId="478"/>
          <ac:spMkLst>
            <pc:docMk/>
            <pc:sldMk cId="2790242129" sldId="2147481963"/>
            <ac:spMk id="4" creationId="{71EA9266-78C2-0544-E7F7-0F6BA125CC74}"/>
          </ac:spMkLst>
        </pc:spChg>
        <pc:spChg chg="mod">
          <ac:chgData name="Chen, Fei [JRDUS]" userId="d53dd1e8-3541-460e-afeb-fadcbd23f836" providerId="ADAL" clId="{FE843704-E5DE-4224-A7F7-8174C40B4F00}" dt="2025-05-08T13:57:32.366" v="408" actId="1036"/>
          <ac:spMkLst>
            <pc:docMk/>
            <pc:sldMk cId="2790242129" sldId="2147481963"/>
            <ac:spMk id="5" creationId="{F85B493F-A540-C578-946D-466E8B6B71D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Chen, Fei [JRDUS]" userId="d53dd1e8-3541-460e-afeb-fadcbd23f836" providerId="ADAL" clId="{FE843704-E5DE-4224-A7F7-8174C40B4F00}" dt="2025-05-08T13:55:01.856" v="304" actId="20577"/>
              <pc2:cmMkLst xmlns:pc2="http://schemas.microsoft.com/office/powerpoint/2019/9/main/command">
                <pc:docMk/>
                <pc:sldMk cId="2790242129" sldId="2147481963"/>
                <pc2:cmMk id="{EB4ED47F-D7F3-4D0E-9E89-67F9B2B843E7}"/>
              </pc2:cmMkLst>
            </pc226:cmChg>
          </p:ext>
        </pc:extLst>
      </pc:sldChg>
      <pc:sldChg chg="delSp modSp mod modCm">
        <pc:chgData name="Chen, Fei [JRDUS]" userId="d53dd1e8-3541-460e-afeb-fadcbd23f836" providerId="ADAL" clId="{FE843704-E5DE-4224-A7F7-8174C40B4F00}" dt="2025-05-08T14:15:47.818" v="424" actId="478"/>
        <pc:sldMkLst>
          <pc:docMk/>
          <pc:sldMk cId="38722919" sldId="2147481964"/>
        </pc:sldMkLst>
        <pc:spChg chg="del">
          <ac:chgData name="Chen, Fei [JRDUS]" userId="d53dd1e8-3541-460e-afeb-fadcbd23f836" providerId="ADAL" clId="{FE843704-E5DE-4224-A7F7-8174C40B4F00}" dt="2025-05-08T14:15:47.818" v="424" actId="478"/>
          <ac:spMkLst>
            <pc:docMk/>
            <pc:sldMk cId="38722919" sldId="2147481964"/>
            <ac:spMk id="4" creationId="{B5808C04-252F-496E-F497-DFEA1A1AF4A8}"/>
          </ac:spMkLst>
        </pc:spChg>
        <pc:spChg chg="mod">
          <ac:chgData name="Chen, Fei [JRDUS]" userId="d53dd1e8-3541-460e-afeb-fadcbd23f836" providerId="ADAL" clId="{FE843704-E5DE-4224-A7F7-8174C40B4F00}" dt="2025-05-08T13:52:09.607" v="115" actId="20577"/>
          <ac:spMkLst>
            <pc:docMk/>
            <pc:sldMk cId="38722919" sldId="2147481964"/>
            <ac:spMk id="5" creationId="{0B1C6394-5795-5F1F-5386-BE0A55CA0DC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Chen, Fei [JRDUS]" userId="d53dd1e8-3541-460e-afeb-fadcbd23f836" providerId="ADAL" clId="{FE843704-E5DE-4224-A7F7-8174C40B4F00}" dt="2025-05-08T13:52:09.607" v="115" actId="20577"/>
              <pc2:cmMkLst xmlns:pc2="http://schemas.microsoft.com/office/powerpoint/2019/9/main/command">
                <pc:docMk/>
                <pc:sldMk cId="38722919" sldId="2147481964"/>
                <pc2:cmMk id="{94389813-8BDB-4041-9CAD-69F9F15C838F}"/>
              </pc2:cmMkLst>
            </pc226:cmChg>
            <pc226:cmChg xmlns:pc226="http://schemas.microsoft.com/office/powerpoint/2022/06/main/command" chg="mod">
              <pc226:chgData name="Chen, Fei [JRDUS]" userId="d53dd1e8-3541-460e-afeb-fadcbd23f836" providerId="ADAL" clId="{FE843704-E5DE-4224-A7F7-8174C40B4F00}" dt="2025-05-08T13:52:09.607" v="115" actId="20577"/>
              <pc2:cmMkLst xmlns:pc2="http://schemas.microsoft.com/office/powerpoint/2019/9/main/command">
                <pc:docMk/>
                <pc:sldMk cId="38722919" sldId="2147481964"/>
                <pc2:cmMk id="{0A35234C-5519-4B10-804E-36DD31780725}"/>
              </pc2:cmMkLst>
            </pc226:cmChg>
            <pc226:cmChg xmlns:pc226="http://schemas.microsoft.com/office/powerpoint/2022/06/main/command" chg="mod">
              <pc226:chgData name="Chen, Fei [JRDUS]" userId="d53dd1e8-3541-460e-afeb-fadcbd23f836" providerId="ADAL" clId="{FE843704-E5DE-4224-A7F7-8174C40B4F00}" dt="2025-05-08T13:52:09.607" v="115" actId="20577"/>
              <pc2:cmMkLst xmlns:pc2="http://schemas.microsoft.com/office/powerpoint/2019/9/main/command">
                <pc:docMk/>
                <pc:sldMk cId="38722919" sldId="2147481964"/>
                <pc2:cmMk id="{B6EE7D91-BD9D-40B9-B1AF-F5ED4403AFEC}"/>
              </pc2:cmMkLst>
            </pc226:cmChg>
            <pc226:cmChg xmlns:pc226="http://schemas.microsoft.com/office/powerpoint/2022/06/main/command" chg="mod">
              <pc226:chgData name="Chen, Fei [JRDUS]" userId="d53dd1e8-3541-460e-afeb-fadcbd23f836" providerId="ADAL" clId="{FE843704-E5DE-4224-A7F7-8174C40B4F00}" dt="2025-05-08T13:52:09.607" v="115" actId="20577"/>
              <pc2:cmMkLst xmlns:pc2="http://schemas.microsoft.com/office/powerpoint/2019/9/main/command">
                <pc:docMk/>
                <pc:sldMk cId="38722919" sldId="2147481964"/>
                <pc2:cmMk id="{DC090BD4-DC37-45B3-B2DD-FA61640FEF52}"/>
              </pc2:cmMkLst>
            </pc226:cmChg>
          </p:ext>
        </pc:extLst>
      </pc:sldChg>
      <pc:sldChg chg="delSp modSp add mod">
        <pc:chgData name="Chen, Fei [JRDUS]" userId="d53dd1e8-3541-460e-afeb-fadcbd23f836" providerId="ADAL" clId="{FE843704-E5DE-4224-A7F7-8174C40B4F00}" dt="2025-05-08T14:16:01.263" v="429" actId="478"/>
        <pc:sldMkLst>
          <pc:docMk/>
          <pc:sldMk cId="1078880003" sldId="2147481965"/>
        </pc:sldMkLst>
        <pc:spChg chg="del">
          <ac:chgData name="Chen, Fei [JRDUS]" userId="d53dd1e8-3541-460e-afeb-fadcbd23f836" providerId="ADAL" clId="{FE843704-E5DE-4224-A7F7-8174C40B4F00}" dt="2025-05-08T14:16:01.263" v="429" actId="478"/>
          <ac:spMkLst>
            <pc:docMk/>
            <pc:sldMk cId="1078880003" sldId="2147481965"/>
            <ac:spMk id="4" creationId="{B1AB4ACA-E637-30D9-CCEE-6610BF4F5209}"/>
          </ac:spMkLst>
        </pc:spChg>
        <pc:spChg chg="mod">
          <ac:chgData name="Chen, Fei [JRDUS]" userId="d53dd1e8-3541-460e-afeb-fadcbd23f836" providerId="ADAL" clId="{FE843704-E5DE-4224-A7F7-8174C40B4F00}" dt="2025-05-08T13:56:54.840" v="404" actId="20577"/>
          <ac:spMkLst>
            <pc:docMk/>
            <pc:sldMk cId="1078880003" sldId="2147481965"/>
            <ac:spMk id="5" creationId="{291B2009-8488-8338-A7E0-B4EE8CB1A2F9}"/>
          </ac:spMkLst>
        </pc:spChg>
      </pc:sldChg>
      <pc:sldChg chg="add del">
        <pc:chgData name="Chen, Fei [JRDUS]" userId="d53dd1e8-3541-460e-afeb-fadcbd23f836" providerId="ADAL" clId="{FE843704-E5DE-4224-A7F7-8174C40B4F00}" dt="2025-05-08T13:56:18.331" v="393" actId="2696"/>
        <pc:sldMkLst>
          <pc:docMk/>
          <pc:sldMk cId="1200986640" sldId="2147481966"/>
        </pc:sldMkLst>
      </pc:sldChg>
      <pc:sldChg chg="modSp add mod">
        <pc:chgData name="Chen, Fei [JRDUS]" userId="d53dd1e8-3541-460e-afeb-fadcbd23f836" providerId="ADAL" clId="{FE843704-E5DE-4224-A7F7-8174C40B4F00}" dt="2025-05-08T13:56:29.327" v="402" actId="20577"/>
        <pc:sldMkLst>
          <pc:docMk/>
          <pc:sldMk cId="1546024590" sldId="2147481966"/>
        </pc:sldMkLst>
        <pc:spChg chg="mod">
          <ac:chgData name="Chen, Fei [JRDUS]" userId="d53dd1e8-3541-460e-afeb-fadcbd23f836" providerId="ADAL" clId="{FE843704-E5DE-4224-A7F7-8174C40B4F00}" dt="2025-05-08T13:56:29.327" v="402" actId="20577"/>
          <ac:spMkLst>
            <pc:docMk/>
            <pc:sldMk cId="1546024590" sldId="2147481966"/>
            <ac:spMk id="4" creationId="{38B3B4F9-2A7F-6395-6F46-14C921F317A2}"/>
          </ac:spMkLst>
        </pc:spChg>
      </pc:sldChg>
    </pc:docChg>
  </pc:docChgLst>
</pc:chgInfo>
</file>

<file path=ppt/comments/modernComment_7FFFF964_25EF7FE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AED6BEE-84B8-4C54-9A34-A720155D32FE}" authorId="{55AE54D2-58E8-3CA2-606D-E115E3167169}" status="resolved" created="2025-05-07T19:17:12.857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636452836" sldId="2147481956"/>
      <ac:spMk id="5" creationId="{C0CD64B5-B4D5-62D4-01F3-D79FE80E62A9}"/>
      <ac:txMk cp="142" len="10">
        <ac:context len="231" hash="2417645307"/>
      </ac:txMk>
    </ac:txMkLst>
    <p188:pos x="2323880" y="2372023"/>
    <p188:txBody>
      <a:bodyPr/>
      <a:lstStyle/>
      <a:p>
        <a:r>
          <a:rPr lang="en-US"/>
          <a:t>Debatable in my view, but good to check with others</a:t>
        </a:r>
      </a:p>
    </p188:txBody>
  </p188:cm>
  <p188:cm id="{97B98F67-23DB-418B-A85D-1DD61CB3B6CA}" authorId="{55AE54D2-58E8-3CA2-606D-E115E3167169}" status="resolved" created="2025-05-07T19:17:49.993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636452836" sldId="2147481956"/>
      <ac:spMk id="5" creationId="{C0CD64B5-B4D5-62D4-01F3-D79FE80E62A9}"/>
      <ac:txMk cp="102" len="4">
        <ac:context len="231" hash="2417645307"/>
      </ac:txMk>
    </ac:txMkLst>
    <p188:pos x="5504402" y="1282694"/>
    <p188:txBody>
      <a:bodyPr/>
      <a:lstStyle/>
      <a:p>
        <a:r>
          <a:rPr lang="en-US"/>
          <a:t>This may be a J&amp;J specific acronym(?)</a:t>
        </a:r>
      </a:p>
    </p188:txBody>
  </p188:cm>
</p188:cmLst>
</file>

<file path=ppt/comments/modernComment_7FFFF968_1F8854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2272D1A-3ABE-4287-93F0-3C3F8E7F07D9}" authorId="{55AE54D2-58E8-3CA2-606D-E115E3167169}" status="resolved" created="2025-05-07T18:51:19.929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3064264" sldId="2147481960"/>
      <ac:spMk id="5" creationId="{5AA00442-2C3F-696D-7683-A21CD8181C20}"/>
    </ac:deMkLst>
    <p188:txBody>
      <a:bodyPr/>
      <a:lstStyle/>
      <a:p>
        <a:r>
          <a:rPr lang="en-US"/>
          <a:t>May need to identify those WKS first, correct? Perhaps the identification of WKS could be an immediate to-do item by itself?</a:t>
        </a:r>
      </a:p>
    </p188:txBody>
  </p188:cm>
  <p188:cm id="{86E7FBE0-6E76-4148-80B5-F927B6405E7C}" authorId="{55AE54D2-58E8-3CA2-606D-E115E3167169}" status="resolved" created="2025-05-07T18:53:07.660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3064264" sldId="2147481960"/>
      <ac:spMk id="5" creationId="{5AA00442-2C3F-696D-7683-A21CD8181C20}"/>
    </ac:deMkLst>
    <p188:txBody>
      <a:bodyPr/>
      <a:lstStyle/>
      <a:p>
        <a:r>
          <a:rPr lang="en-US"/>
          <a:t>Is this accessible by anyone? If so, do you want to restrict some areas of it to SWG members? We’ll need to be a bit careful on what gets posted there, from a J&amp;J perspective and, I assume, other companies’ as well. </a:t>
        </a:r>
      </a:p>
    </p188:txBody>
  </p188:cm>
</p188:cmLst>
</file>

<file path=ppt/comments/modernComment_7FFFF969_F20EA9A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F2A5EC9-50E9-44CE-9F5D-A5E65D82A8B1}" authorId="{55AE54D2-58E8-3CA2-606D-E115E3167169}" status="resolved" created="2025-05-07T19:23:39.435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061047210" sldId="2147481961"/>
      <ac:spMk id="13" creationId="{4CB3027C-0AD8-BF87-B962-810D2FB117DB}"/>
    </ac:deMkLst>
    <p188:txBody>
      <a:bodyPr/>
      <a:lstStyle/>
      <a:p>
        <a:r>
          <a:rPr lang="en-US"/>
          <a:t>Suggest moving this to back-up for now. A bit too specific at this point.</a:t>
        </a:r>
      </a:p>
    </p188:txBody>
  </p188:cm>
</p188:cmLst>
</file>

<file path=ppt/comments/modernComment_7FFFF96B_A64FB75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B4ED47F-D7F3-4D0E-9E89-67F9B2B843E7}" authorId="{55AE54D2-58E8-3CA2-606D-E115E3167169}" status="resolved" created="2025-05-07T19:20:00.539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790242129" sldId="2147481963"/>
      <ac:spMk id="5" creationId="{F85B493F-A540-C578-946D-466E8B6B71D6}"/>
      <ac:txMk cp="0">
        <ac:context len="409" hash="2087435551"/>
      </ac:txMk>
    </ac:txMkLst>
    <p188:pos x="10330844" y="193366"/>
    <p188:txBody>
      <a:bodyPr/>
      <a:lstStyle/>
      <a:p>
        <a:r>
          <a:rPr lang="en-US"/>
          <a:t>May be delete this, as is not a deliverable per se and the goal was previously mentioned(?)</a:t>
        </a:r>
      </a:p>
    </p188:txBody>
  </p188:cm>
  <p188:cm id="{E4A754BA-4FED-4695-B994-E65CF32C8AD2}" authorId="{55AE54D2-58E8-3CA2-606D-E115E3167169}" status="resolved" created="2025-05-07T19:21:31.674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790242129" sldId="2147481963"/>
      <ac:spMk id="5" creationId="{F85B493F-A540-C578-946D-466E8B6B71D6}"/>
    </ac:deMkLst>
    <p188:pos x="8804276" y="4069240"/>
    <p188:txBody>
      <a:bodyPr/>
      <a:lstStyle/>
      <a:p>
        <a:r>
          <a:rPr lang="en-US"/>
          <a:t>This may need to be cleared with IP lawyers, depending on what gets shared externally</a:t>
        </a:r>
      </a:p>
    </p188:txBody>
  </p188:cm>
</p188:cmLst>
</file>

<file path=ppt/comments/modernComment_7FFFF96C_24EDD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6EE7D91-BD9D-40B9-B1AF-F5ED4403AFEC}" authorId="{55AE54D2-58E8-3CA2-606D-E115E3167169}" status="resolved" created="2025-05-07T19:01:43.823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8722919" sldId="2147481964"/>
      <ac:spMk id="5" creationId="{0B1C6394-5795-5F1F-5386-BE0A55CA0DCA}"/>
      <ac:txMk cp="349" len="6">
        <ac:context len="816" hash="4184719923"/>
      </ac:txMk>
    </ac:txMkLst>
    <p188:pos x="3289785" y="2734315"/>
    <p188:txBody>
      <a:bodyPr/>
      <a:lstStyle/>
      <a:p>
        <a:r>
          <a:rPr lang="en-US"/>
          <a:t>“cross-pharma” or “cross-company”?</a:t>
        </a:r>
      </a:p>
    </p188:txBody>
  </p188:cm>
  <p188:cm id="{79ECDEE2-BC9D-4228-805B-79D8ED8A6E78}" authorId="{55AE54D2-58E8-3CA2-606D-E115E3167169}" status="resolved" created="2025-05-07T19:03:48.274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8722919" sldId="2147481964"/>
      <ac:spMk id="5" creationId="{0B1C6394-5795-5F1F-5386-BE0A55CA0DCA}"/>
    </ac:deMkLst>
    <p188:pos x="6506198" y="4607178"/>
    <p188:txBody>
      <a:bodyPr/>
      <a:lstStyle/>
      <a:p>
        <a:r>
          <a:rPr lang="en-US"/>
          <a:t>Need for actionable methods for patient enrollment forecast, monitoring, and risk mitigation(?)</a:t>
        </a:r>
      </a:p>
    </p188:txBody>
  </p188:cm>
  <p188:cm id="{0A35234C-5519-4B10-804E-36DD31780725}" authorId="{55AE54D2-58E8-3CA2-606D-E115E3167169}" status="resolved" created="2025-05-07T19:04:47.953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8722919" sldId="2147481964"/>
      <ac:spMk id="5" creationId="{0B1C6394-5795-5F1F-5386-BE0A55CA0DCA}"/>
      <ac:txMk cp="401">
        <ac:context len="816" hash="4184719923"/>
      </ac:txMk>
    </ac:txMkLst>
    <p188:pos x="8155983" y="2734315"/>
    <p188:txBody>
      <a:bodyPr/>
      <a:lstStyle/>
      <a:p>
        <a:r>
          <a:rPr lang="en-US"/>
          <a:t>“professionals”?</a:t>
        </a:r>
      </a:p>
    </p188:txBody>
  </p188:cm>
  <p188:cm id="{94389813-8BDB-4041-9CAD-69F9F15C838F}" authorId="{55AE54D2-58E8-3CA2-606D-E115E3167169}" status="resolved" created="2025-05-07T19:06:46.515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8722919" sldId="2147481964"/>
      <ac:spMk id="5" creationId="{0B1C6394-5795-5F1F-5386-BE0A55CA0DCA}"/>
      <ac:txMk cp="406" len="11">
        <ac:context len="816" hash="4184719923"/>
      </ac:txMk>
    </ac:txMkLst>
    <p188:pos x="10716303" y="2734315"/>
    <p188:txBody>
      <a:bodyPr/>
      <a:lstStyle/>
      <a:p>
        <a:r>
          <a:rPr lang="en-US"/>
          <a:t>Not sure how much traction the topic will get with regulatory people - it may be more of interest to companies(?) May very well be wrong and regulators will show interest in things like QTL monitoring, etc.?</a:t>
        </a:r>
      </a:p>
    </p188:txBody>
  </p188:cm>
  <p188:cm id="{DC090BD4-DC37-45B3-B2DD-FA61640FEF52}" authorId="{55AE54D2-58E8-3CA2-606D-E115E3167169}" created="2025-05-07T19:09:55.821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8722919" sldId="2147481964"/>
      <ac:spMk id="5" creationId="{0B1C6394-5795-5F1F-5386-BE0A55CA0DCA}"/>
      <ac:txMk cp="635" len="58">
        <ac:context len="816" hash="4184719923"/>
      </ac:txMk>
    </ac:txMkLst>
    <p188:pos x="6963288" y="4038328"/>
    <p188:txBody>
      <a:bodyPr/>
      <a:lstStyle/>
      <a:p>
        <a:r>
          <a:rPr lang="en-US"/>
          <a:t>Unsure about this - see comment above; good to leave it in to gather reactions from others. Including Cyrus</a:t>
        </a:r>
      </a:p>
    </p188:txBody>
  </p188:cm>
  <p188:cm id="{6E4D4591-326C-4E8A-B10C-A9B10E090A9E}" authorId="{55AE54D2-58E8-3CA2-606D-E115E3167169}" created="2025-05-07T19:16:37.966">
    <pc:sldMkLst xmlns:pc="http://schemas.microsoft.com/office/powerpoint/2013/main/command">
      <pc:docMk/>
      <pc:sldMk cId="38722919" sldId="2147481964"/>
    </pc:sldMkLst>
    <p188:txBody>
      <a:bodyPr/>
      <a:lstStyle/>
      <a:p>
        <a:r>
          <a:rPr lang="en-US"/>
          <a:t>“Best practices for design and evaluation of trial operations”?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68FA0-2DAA-4895-B745-C727A1FEB37C}" type="datetimeFigureOut">
              <a:rPr lang="nl-BE" smtClean="0"/>
              <a:t>8/05/2025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208EAB-216F-42CD-8A76-9FBD88D241F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79110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18E93-EE38-CB4F-AFC1-65CB91DBA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499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208EAB-216F-42CD-8A76-9FBD88D241F7}" type="slidenum">
              <a:rPr lang="nl-BE" smtClean="0"/>
              <a:t>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871544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10EC2A-FA3C-D65D-0998-4E21A679D1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0A1F0C-F48E-72FE-2389-87B9714D22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5F99DE5-C62B-08FD-3E8C-77639795F7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1149A-EE30-E6AC-CFDF-00D40E922D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18E93-EE38-CB4F-AFC1-65CB91DBAD4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747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2670"/>
            <a:ext cx="9656119" cy="2617640"/>
          </a:xfrm>
        </p:spPr>
        <p:txBody>
          <a:bodyPr anchor="t"/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Graphic 2">
            <a:extLst>
              <a:ext uri="{FF2B5EF4-FFF2-40B4-BE49-F238E27FC236}">
                <a16:creationId xmlns:a16="http://schemas.microsoft.com/office/drawing/2014/main" id="{2E36CEA2-652F-75DC-D683-227EE3CCAC18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645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84" y="270000"/>
            <a:ext cx="5732004" cy="2770117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6BED0E8-5F3C-7ED5-6D85-7ADCF62396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5850" y="0"/>
            <a:ext cx="6026150" cy="6858000"/>
          </a:xfrm>
          <a:solidFill>
            <a:srgbClr val="F6F3F2"/>
          </a:solidFill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311982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69031AD-BE5D-A3B7-1DEC-6584F4E4BF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5850" y="1306512"/>
            <a:ext cx="5736764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Key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02A894D-CD72-8370-90B3-68756CDFCB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825" y="4377028"/>
            <a:ext cx="4754562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2710258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4.07407E-6 L 0.03906 -4.07407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3.7037E-6 L -0.03437 -3.7037E-6 " pathEditMode="relative" rAng="0" ptsTypes="AA">
                                      <p:cBhvr>
                                        <p:cTn id="18" dur="1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3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0614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8925" y="5394325"/>
            <a:ext cx="2795587" cy="87630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8DD8F62-9521-0227-75CF-0AE6364187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2338388"/>
            <a:ext cx="3778250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09A4C51-350E-EA65-5ABE-B10E6D298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751BFC5-7E94-8966-6D2A-5204BCB942D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308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C40E4DC1-BB74-3975-DFE6-D6234B08E410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00322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-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24825" y="285158"/>
            <a:ext cx="3775075" cy="394711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4825" y="4376739"/>
            <a:ext cx="377507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E887C0B-D804-38AD-7676-333BDBFC1A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4376739"/>
            <a:ext cx="3778250" cy="13890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07732" y="285158"/>
            <a:ext cx="3775075" cy="394711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07732" y="4376739"/>
            <a:ext cx="377507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E80529FD-0171-E552-588C-C152AED56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3775073" cy="454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A79EF84-4162-265E-6156-177364480E5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377507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9B23211-718F-C72D-C415-24096BDEEB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BAE1C4-8C53-F889-33BD-2F49ACEA13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2CECF5-BBCB-3C3C-5C16-98CE56519A6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859598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9"/>
            <a:ext cx="2794731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8FEEB1-636D-38E4-1003-F9C2F00099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4376739"/>
            <a:ext cx="2776485" cy="13890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45B8B1D-DD68-528A-E1DB-9EC7F9835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9649446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6CA54C-86BC-245E-8EEE-F0C02489F09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964944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498F38D-E287-CD9F-9BFC-10B3256FE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429701B-BA59-63AC-184E-531FE07F60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Graphic 8">
            <a:extLst>
              <a:ext uri="{FF2B5EF4-FFF2-40B4-BE49-F238E27FC236}">
                <a16:creationId xmlns:a16="http://schemas.microsoft.com/office/drawing/2014/main" id="{9E2456D6-0DCE-CB9D-60A5-2CD05AD6A4F2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82707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9"/>
            <a:ext cx="2794731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5068F87-7E7A-B5CF-3CBC-E18B6DD0D7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91479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4F951B9-FA91-8764-4AF1-2302D32F8D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1478" y="4376739"/>
            <a:ext cx="2794731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F91C3EF-5967-CDBE-EACE-2531D873C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25200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DA47195B-21A0-9A63-E4DA-58F9F29E9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B220D96-C4B3-B7EB-A87A-9845F48C33C3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229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06912E-45D9-5EEE-9496-4E85E1874A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86399777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604F17DC-3526-6523-F6A2-A614A5877E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46859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2B84ACE-520E-A875-5184-5F9EE6A46C07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736E8E3-26E6-DF9F-264A-BFE1AD9B0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2540933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E351EF8-8286-87AC-38C6-7E9DC74AA5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2100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D881FA5-55EC-F926-2B2E-C6A382AF84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210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BC82E01-F7FE-2EAB-B8E7-5960A7A586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251075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AF3DAD82-5491-5A1C-AF05-DBECB12413C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10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56B49B1-E5CE-83C1-0D25-0898269814D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206875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0D879563-9332-8DE6-BC2B-72B716864FC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068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34E06054-2590-E998-043B-8F545070935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5850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B2E849EB-3C88-7D18-ED79-F55E7AB9250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6585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A8CC4AE-06AB-5A91-10DC-6C53FFB4A23A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129587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2ACD70-936B-5D18-96B7-1BF64FC6E2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87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96B65B4A-309C-6AFF-3233-21C6FE13D29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088562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56786C68-DCD8-DE01-5F52-6FF88150DD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88562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520EE9D3-6988-A53A-4B71-0F5506C1DB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46859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29A91CD-56E3-1B05-9890-3FE2231364A5}"/>
              </a:ext>
            </a:extLst>
          </p:cNvPr>
          <p:cNvSpPr>
            <a:spLocks noGrp="1"/>
          </p:cNvSpPr>
          <p:nvPr>
            <p:ph type="subTitle" idx="38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FD0E279-D09C-E44C-0FD5-7AAE367C5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1109291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B7E02200-51E6-11EB-F9C2-B25EC78CCA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035735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596B4D9D-1962-9920-7F5F-A7A616FD4C77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70519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[Accessible Version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035735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EA53A9D8-7E77-B7F4-501A-731F65EFB066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accent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8140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C22AC-FEA7-AD51-FB22-01EC3D276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7DAC6C-95A8-D53D-7D6B-43128BEEF1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25801" y="277200"/>
            <a:ext cx="8966200" cy="5995014"/>
          </a:xfrm>
        </p:spPr>
        <p:txBody>
          <a:bodyPr/>
          <a:lstStyle>
            <a:lvl1pPr marL="981075" indent="-9810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tabLst/>
              <a:defRPr sz="3000" b="0" i="0">
                <a:latin typeface="+mj-lt"/>
              </a:defRPr>
            </a:lvl1pPr>
            <a:lvl2pPr marL="1201738" indent="-220663">
              <a:tabLst/>
              <a:defRPr/>
            </a:lvl2pPr>
            <a:lvl3pPr marL="1201738" indent="-220663">
              <a:tabLst/>
              <a:defRPr/>
            </a:lvl3pPr>
            <a:lvl4pPr marL="1201738" indent="-220663">
              <a:tabLst/>
              <a:defRPr/>
            </a:lvl4pPr>
            <a:lvl5pPr marL="1201738" indent="-220663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4588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F4DE542-4D98-B05D-597C-9623E7D2E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1" name="Picture Placeholder 92">
            <a:extLst>
              <a:ext uri="{FF2B5EF4-FFF2-40B4-BE49-F238E27FC236}">
                <a16:creationId xmlns:a16="http://schemas.microsoft.com/office/drawing/2014/main" id="{414C0709-0B1A-11C5-45EE-CC44E7A13411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225799" y="93313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63" name="Text Placeholder 5">
            <a:extLst>
              <a:ext uri="{FF2B5EF4-FFF2-40B4-BE49-F238E27FC236}">
                <a16:creationId xmlns:a16="http://schemas.microsoft.com/office/drawing/2014/main" id="{12B824E8-EE25-7DB2-F96D-DEA8631E51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25800" y="231771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4" name="Text Placeholder 5">
            <a:extLst>
              <a:ext uri="{FF2B5EF4-FFF2-40B4-BE49-F238E27FC236}">
                <a16:creationId xmlns:a16="http://schemas.microsoft.com/office/drawing/2014/main" id="{A4F70AC5-374E-DFC2-2B29-2318F0BB51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6875" y="231771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5" name="Text Placeholder 5">
            <a:extLst>
              <a:ext uri="{FF2B5EF4-FFF2-40B4-BE49-F238E27FC236}">
                <a16:creationId xmlns:a16="http://schemas.microsoft.com/office/drawing/2014/main" id="{EB857D0D-CD76-A612-A712-E14D8C7049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6462" y="231771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66" name="Picture Placeholder 91">
            <a:extLst>
              <a:ext uri="{FF2B5EF4-FFF2-40B4-BE49-F238E27FC236}">
                <a16:creationId xmlns:a16="http://schemas.microsoft.com/office/drawing/2014/main" id="{23E05799-FE6A-9155-DA4E-C09C4B03CA27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53899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 </a:t>
            </a:r>
          </a:p>
        </p:txBody>
      </p:sp>
      <p:sp>
        <p:nvSpPr>
          <p:cNvPr id="167" name="Text Placeholder 5">
            <a:extLst>
              <a:ext uri="{FF2B5EF4-FFF2-40B4-BE49-F238E27FC236}">
                <a16:creationId xmlns:a16="http://schemas.microsoft.com/office/drawing/2014/main" id="{24089EB1-E806-6913-C5B8-A4C01D0814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25800" y="625471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8" name="Text Placeholder 5">
            <a:extLst>
              <a:ext uri="{FF2B5EF4-FFF2-40B4-BE49-F238E27FC236}">
                <a16:creationId xmlns:a16="http://schemas.microsoft.com/office/drawing/2014/main" id="{10C7981E-34E4-22AC-19D7-855BF963AC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06875" y="625471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9" name="Text Placeholder 5">
            <a:extLst>
              <a:ext uri="{FF2B5EF4-FFF2-40B4-BE49-F238E27FC236}">
                <a16:creationId xmlns:a16="http://schemas.microsoft.com/office/drawing/2014/main" id="{127EEF89-640D-17FA-3E79-57DA3786E3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06462" y="625471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0" name="Text Placeholder 5">
            <a:extLst>
              <a:ext uri="{FF2B5EF4-FFF2-40B4-BE49-F238E27FC236}">
                <a16:creationId xmlns:a16="http://schemas.microsoft.com/office/drawing/2014/main" id="{C3E76B7F-03AC-D5BD-BECC-8B0881567D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25800" y="1022195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1" name="Text Placeholder 5">
            <a:extLst>
              <a:ext uri="{FF2B5EF4-FFF2-40B4-BE49-F238E27FC236}">
                <a16:creationId xmlns:a16="http://schemas.microsoft.com/office/drawing/2014/main" id="{8344A73D-BCE2-9041-0430-DCA16AE219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06875" y="1022195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Text Placeholder 5">
            <a:extLst>
              <a:ext uri="{FF2B5EF4-FFF2-40B4-BE49-F238E27FC236}">
                <a16:creationId xmlns:a16="http://schemas.microsoft.com/office/drawing/2014/main" id="{BA7AD8A2-995B-0025-7B23-12D44BEB24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462" y="1022195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3" name="Picture Placeholder 93">
            <a:extLst>
              <a:ext uri="{FF2B5EF4-FFF2-40B4-BE49-F238E27FC236}">
                <a16:creationId xmlns:a16="http://schemas.microsoft.com/office/drawing/2014/main" id="{C7221CC4-5A16-F8BC-F970-B26EBD5A8BA8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225799" y="133515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4" name="Text Placeholder 5">
            <a:extLst>
              <a:ext uri="{FF2B5EF4-FFF2-40B4-BE49-F238E27FC236}">
                <a16:creationId xmlns:a16="http://schemas.microsoft.com/office/drawing/2014/main" id="{B4AD80BA-61F2-11A3-5213-31194E78C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25800" y="141891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5" name="Text Placeholder 5">
            <a:extLst>
              <a:ext uri="{FF2B5EF4-FFF2-40B4-BE49-F238E27FC236}">
                <a16:creationId xmlns:a16="http://schemas.microsoft.com/office/drawing/2014/main" id="{27C0D85E-74CB-0D5E-89E5-5D22045B87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06875" y="141891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5">
            <a:extLst>
              <a:ext uri="{FF2B5EF4-FFF2-40B4-BE49-F238E27FC236}">
                <a16:creationId xmlns:a16="http://schemas.microsoft.com/office/drawing/2014/main" id="{D3602011-9A32-BE74-D43E-233E4FC273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06462" y="141891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7" name="Picture Placeholder 94">
            <a:extLst>
              <a:ext uri="{FF2B5EF4-FFF2-40B4-BE49-F238E27FC236}">
                <a16:creationId xmlns:a16="http://schemas.microsoft.com/office/drawing/2014/main" id="{269B4BB8-2420-C116-E384-4500FB15D7E4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225799" y="1737173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8" name="Text Placeholder 5">
            <a:extLst>
              <a:ext uri="{FF2B5EF4-FFF2-40B4-BE49-F238E27FC236}">
                <a16:creationId xmlns:a16="http://schemas.microsoft.com/office/drawing/2014/main" id="{A65D6C32-597E-A87D-B6BE-91881E645F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25800" y="1815643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9" name="Text Placeholder 5">
            <a:extLst>
              <a:ext uri="{FF2B5EF4-FFF2-40B4-BE49-F238E27FC236}">
                <a16:creationId xmlns:a16="http://schemas.microsoft.com/office/drawing/2014/main" id="{4B1DF343-DFC7-F81B-915B-96E9335A5E4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06875" y="1815643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0" name="Text Placeholder 5">
            <a:extLst>
              <a:ext uri="{FF2B5EF4-FFF2-40B4-BE49-F238E27FC236}">
                <a16:creationId xmlns:a16="http://schemas.microsoft.com/office/drawing/2014/main" id="{B101370D-BD23-0E59-00B2-1DF4D768EB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06462" y="1815643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1" name="Picture Placeholder 95">
            <a:extLst>
              <a:ext uri="{FF2B5EF4-FFF2-40B4-BE49-F238E27FC236}">
                <a16:creationId xmlns:a16="http://schemas.microsoft.com/office/drawing/2014/main" id="{F4B3C050-4D54-40AC-903F-F698E83D054E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3225799" y="212342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2" name="Text Placeholder 5">
            <a:extLst>
              <a:ext uri="{FF2B5EF4-FFF2-40B4-BE49-F238E27FC236}">
                <a16:creationId xmlns:a16="http://schemas.microsoft.com/office/drawing/2014/main" id="{155ABD36-F107-FAC7-D94F-C71129D99E0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25800" y="2212367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3" name="Text Placeholder 5">
            <a:extLst>
              <a:ext uri="{FF2B5EF4-FFF2-40B4-BE49-F238E27FC236}">
                <a16:creationId xmlns:a16="http://schemas.microsoft.com/office/drawing/2014/main" id="{0A1512C3-4983-E876-9159-16E3626DF5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06875" y="2212367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4" name="Text Placeholder 5">
            <a:extLst>
              <a:ext uri="{FF2B5EF4-FFF2-40B4-BE49-F238E27FC236}">
                <a16:creationId xmlns:a16="http://schemas.microsoft.com/office/drawing/2014/main" id="{F7879AFD-9EB9-2FB8-189D-455DEDB6131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06462" y="2212367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5" name="Picture Placeholder 96">
            <a:extLst>
              <a:ext uri="{FF2B5EF4-FFF2-40B4-BE49-F238E27FC236}">
                <a16:creationId xmlns:a16="http://schemas.microsoft.com/office/drawing/2014/main" id="{35FA00DC-0DE0-96B1-C7B7-F45DB8335CD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3225799" y="252544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6" name="Text Placeholder 5">
            <a:extLst>
              <a:ext uri="{FF2B5EF4-FFF2-40B4-BE49-F238E27FC236}">
                <a16:creationId xmlns:a16="http://schemas.microsoft.com/office/drawing/2014/main" id="{BE4AFC06-39CD-C8B1-3AE0-5EC6BA91A9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25800" y="2607652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7" name="Text Placeholder 5">
            <a:extLst>
              <a:ext uri="{FF2B5EF4-FFF2-40B4-BE49-F238E27FC236}">
                <a16:creationId xmlns:a16="http://schemas.microsoft.com/office/drawing/2014/main" id="{626B338C-7172-C0D7-9039-86A9DE0F1FA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06875" y="2607652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5">
            <a:extLst>
              <a:ext uri="{FF2B5EF4-FFF2-40B4-BE49-F238E27FC236}">
                <a16:creationId xmlns:a16="http://schemas.microsoft.com/office/drawing/2014/main" id="{F53E4D8E-1408-3646-C31B-01AB5D69F9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06462" y="2607652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9" name="Picture Placeholder 97">
            <a:extLst>
              <a:ext uri="{FF2B5EF4-FFF2-40B4-BE49-F238E27FC236}">
                <a16:creationId xmlns:a16="http://schemas.microsoft.com/office/drawing/2014/main" id="{E48216AF-0F70-8F6D-3261-AB2C4BA6E6DD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3225799" y="2919586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0" name="Text Placeholder 5">
            <a:extLst>
              <a:ext uri="{FF2B5EF4-FFF2-40B4-BE49-F238E27FC236}">
                <a16:creationId xmlns:a16="http://schemas.microsoft.com/office/drawing/2014/main" id="{ACC59BB8-BBFA-7099-D2F9-58BFCAF107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25800" y="3002937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1" name="Text Placeholder 5">
            <a:extLst>
              <a:ext uri="{FF2B5EF4-FFF2-40B4-BE49-F238E27FC236}">
                <a16:creationId xmlns:a16="http://schemas.microsoft.com/office/drawing/2014/main" id="{CACBCBB1-0D34-45F6-E211-B0C865D3FF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206875" y="3002937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5">
            <a:extLst>
              <a:ext uri="{FF2B5EF4-FFF2-40B4-BE49-F238E27FC236}">
                <a16:creationId xmlns:a16="http://schemas.microsoft.com/office/drawing/2014/main" id="{AA85DA3F-ECA7-C004-3370-0301B64046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06462" y="3002937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3" name="Picture Placeholder 98">
            <a:extLst>
              <a:ext uri="{FF2B5EF4-FFF2-40B4-BE49-F238E27FC236}">
                <a16:creationId xmlns:a16="http://schemas.microsoft.com/office/drawing/2014/main" id="{6E85E349-99D2-61C9-CD7D-58A15220FF0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225799" y="331372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4" name="Text Placeholder 5">
            <a:extLst>
              <a:ext uri="{FF2B5EF4-FFF2-40B4-BE49-F238E27FC236}">
                <a16:creationId xmlns:a16="http://schemas.microsoft.com/office/drawing/2014/main" id="{D00E7ED3-4AED-567D-4156-2F6D199ADA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25800" y="3398222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5" name="Text Placeholder 5">
            <a:extLst>
              <a:ext uri="{FF2B5EF4-FFF2-40B4-BE49-F238E27FC236}">
                <a16:creationId xmlns:a16="http://schemas.microsoft.com/office/drawing/2014/main" id="{C8FC743C-8275-AD1C-7797-8C970CCC8D4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206875" y="3398222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5">
            <a:extLst>
              <a:ext uri="{FF2B5EF4-FFF2-40B4-BE49-F238E27FC236}">
                <a16:creationId xmlns:a16="http://schemas.microsoft.com/office/drawing/2014/main" id="{AF7A0554-FA98-7604-80E6-32CB2E2929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06462" y="3398222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7" name="Picture Placeholder 99">
            <a:extLst>
              <a:ext uri="{FF2B5EF4-FFF2-40B4-BE49-F238E27FC236}">
                <a16:creationId xmlns:a16="http://schemas.microsoft.com/office/drawing/2014/main" id="{F876AA1D-D562-3A3B-A233-9C23797C9A2F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3225799" y="371574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8" name="Text Placeholder 5">
            <a:extLst>
              <a:ext uri="{FF2B5EF4-FFF2-40B4-BE49-F238E27FC236}">
                <a16:creationId xmlns:a16="http://schemas.microsoft.com/office/drawing/2014/main" id="{4AAF2467-86C6-2863-72E4-0D257BDEFE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25800" y="3793507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9" name="Text Placeholder 5">
            <a:extLst>
              <a:ext uri="{FF2B5EF4-FFF2-40B4-BE49-F238E27FC236}">
                <a16:creationId xmlns:a16="http://schemas.microsoft.com/office/drawing/2014/main" id="{D10BCF98-803A-D107-CF63-05EE97CCF87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206875" y="3793507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Text Placeholder 5">
            <a:extLst>
              <a:ext uri="{FF2B5EF4-FFF2-40B4-BE49-F238E27FC236}">
                <a16:creationId xmlns:a16="http://schemas.microsoft.com/office/drawing/2014/main" id="{66FCBF15-2260-D8AF-4A2A-454AC1F084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06462" y="3793507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1" name="Picture Placeholder 100">
            <a:extLst>
              <a:ext uri="{FF2B5EF4-FFF2-40B4-BE49-F238E27FC236}">
                <a16:creationId xmlns:a16="http://schemas.microsoft.com/office/drawing/2014/main" id="{9AA08646-E580-C6E2-B08A-A52294AA1302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225799" y="410199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2" name="Text Placeholder 5">
            <a:extLst>
              <a:ext uri="{FF2B5EF4-FFF2-40B4-BE49-F238E27FC236}">
                <a16:creationId xmlns:a16="http://schemas.microsoft.com/office/drawing/2014/main" id="{F1F57BF8-4802-2C8C-0E82-371529BD021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25800" y="4185778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3" name="Text Placeholder 5">
            <a:extLst>
              <a:ext uri="{FF2B5EF4-FFF2-40B4-BE49-F238E27FC236}">
                <a16:creationId xmlns:a16="http://schemas.microsoft.com/office/drawing/2014/main" id="{04A64809-4725-EAB5-6238-C72786840E5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206875" y="4185778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5">
            <a:extLst>
              <a:ext uri="{FF2B5EF4-FFF2-40B4-BE49-F238E27FC236}">
                <a16:creationId xmlns:a16="http://schemas.microsoft.com/office/drawing/2014/main" id="{4CB9BFE3-9BB1-5FD8-09B8-E24BA20F557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06462" y="4185778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5" name="Picture Placeholder 101">
            <a:extLst>
              <a:ext uri="{FF2B5EF4-FFF2-40B4-BE49-F238E27FC236}">
                <a16:creationId xmlns:a16="http://schemas.microsoft.com/office/drawing/2014/main" id="{44DB8248-2938-15C7-274A-CA5D91633846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3225799" y="44961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6" name="Text Placeholder 5">
            <a:extLst>
              <a:ext uri="{FF2B5EF4-FFF2-40B4-BE49-F238E27FC236}">
                <a16:creationId xmlns:a16="http://schemas.microsoft.com/office/drawing/2014/main" id="{611AE180-E3A1-4890-5ADE-0648958344D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225800" y="457804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7" name="Text Placeholder 5">
            <a:extLst>
              <a:ext uri="{FF2B5EF4-FFF2-40B4-BE49-F238E27FC236}">
                <a16:creationId xmlns:a16="http://schemas.microsoft.com/office/drawing/2014/main" id="{E90EADE4-597A-8C59-D59C-21DE4011EC8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206875" y="457804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8" name="Text Placeholder 5">
            <a:extLst>
              <a:ext uri="{FF2B5EF4-FFF2-40B4-BE49-F238E27FC236}">
                <a16:creationId xmlns:a16="http://schemas.microsoft.com/office/drawing/2014/main" id="{8988DD51-F3BF-BE97-FF13-DAAFB4A50B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06462" y="457804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9" name="Picture Placeholder 102">
            <a:extLst>
              <a:ext uri="{FF2B5EF4-FFF2-40B4-BE49-F238E27FC236}">
                <a16:creationId xmlns:a16="http://schemas.microsoft.com/office/drawing/2014/main" id="{5DAB147A-0351-E869-E2C9-849967B3E0C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3225799" y="489027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0" name="Text Placeholder 5">
            <a:extLst>
              <a:ext uri="{FF2B5EF4-FFF2-40B4-BE49-F238E27FC236}">
                <a16:creationId xmlns:a16="http://schemas.microsoft.com/office/drawing/2014/main" id="{3A1DC516-9D33-7E76-1881-D60014DC876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25800" y="496901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1" name="Text Placeholder 5">
            <a:extLst>
              <a:ext uri="{FF2B5EF4-FFF2-40B4-BE49-F238E27FC236}">
                <a16:creationId xmlns:a16="http://schemas.microsoft.com/office/drawing/2014/main" id="{50E9B1C4-B2F3-4C78-8518-39911DF5B99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206875" y="496901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2" name="Text Placeholder 5">
            <a:extLst>
              <a:ext uri="{FF2B5EF4-FFF2-40B4-BE49-F238E27FC236}">
                <a16:creationId xmlns:a16="http://schemas.microsoft.com/office/drawing/2014/main" id="{BE4B6B57-1237-7AB3-7574-6A37E89A9F5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06462" y="496901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13" name="Picture Placeholder 103">
            <a:extLst>
              <a:ext uri="{FF2B5EF4-FFF2-40B4-BE49-F238E27FC236}">
                <a16:creationId xmlns:a16="http://schemas.microsoft.com/office/drawing/2014/main" id="{469187E8-1DE2-B301-6DE0-4B9CEA368C43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527652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4" name="Text Placeholder 5">
            <a:extLst>
              <a:ext uri="{FF2B5EF4-FFF2-40B4-BE49-F238E27FC236}">
                <a16:creationId xmlns:a16="http://schemas.microsoft.com/office/drawing/2014/main" id="{C07B97CB-6CF8-744C-72E9-403869FF62F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25800" y="535998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5" name="Text Placeholder 5">
            <a:extLst>
              <a:ext uri="{FF2B5EF4-FFF2-40B4-BE49-F238E27FC236}">
                <a16:creationId xmlns:a16="http://schemas.microsoft.com/office/drawing/2014/main" id="{D7694E3D-9EAE-7860-514C-D3E6A6066D7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206875" y="535998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5">
            <a:extLst>
              <a:ext uri="{FF2B5EF4-FFF2-40B4-BE49-F238E27FC236}">
                <a16:creationId xmlns:a16="http://schemas.microsoft.com/office/drawing/2014/main" id="{673631ED-FCF1-AA91-EA4E-8BD53A7ED35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06462" y="535998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92817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337" y="269882"/>
            <a:ext cx="11615278" cy="5002212"/>
          </a:xfrm>
        </p:spPr>
        <p:txBody>
          <a:bodyPr/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D9562A-759F-B207-3B94-4C0D83136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19124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Numb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91">
            <a:extLst>
              <a:ext uri="{FF2B5EF4-FFF2-40B4-BE49-F238E27FC236}">
                <a16:creationId xmlns:a16="http://schemas.microsoft.com/office/drawing/2014/main" id="{1B8E6F68-BB92-3741-A271-A507454209A8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3F40DC3-5F4F-C397-5C6A-8A62BC1F78B1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4" name="Picture Placeholder 91">
            <a:extLst>
              <a:ext uri="{FF2B5EF4-FFF2-40B4-BE49-F238E27FC236}">
                <a16:creationId xmlns:a16="http://schemas.microsoft.com/office/drawing/2014/main" id="{A11547F3-AA53-B6CF-CC36-9B7EBC562F8C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BE84450-4088-E9E0-0359-34BD23A3925E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91">
            <a:extLst>
              <a:ext uri="{FF2B5EF4-FFF2-40B4-BE49-F238E27FC236}">
                <a16:creationId xmlns:a16="http://schemas.microsoft.com/office/drawing/2014/main" id="{62C4BF17-AF9C-A4E5-F1BF-718B90E42E2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33A7DDF-B16D-DE86-59A6-3E4EE10AF950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Picture Placeholder 91">
            <a:extLst>
              <a:ext uri="{FF2B5EF4-FFF2-40B4-BE49-F238E27FC236}">
                <a16:creationId xmlns:a16="http://schemas.microsoft.com/office/drawing/2014/main" id="{485FA38D-16CA-1001-19BE-594DCF6B57AA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5E5282-C048-99E1-5F1B-6B996106618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CBBE869E-D65F-3F80-8F9D-6DF327B97D4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BAA28741-F83E-3E15-A9FB-99668766D89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" name="Graphic 8">
            <a:extLst>
              <a:ext uri="{FF2B5EF4-FFF2-40B4-BE49-F238E27FC236}">
                <a16:creationId xmlns:a16="http://schemas.microsoft.com/office/drawing/2014/main" id="{87803E29-408D-BDC5-463B-8562EADCC69D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5962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s [Accessible Version]">
    <p:bg>
      <p:bgPr>
        <a:solidFill>
          <a:srgbClr val="F6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7032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Johnson Text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Picture Placeholder 91">
            <a:extLst>
              <a:ext uri="{FF2B5EF4-FFF2-40B4-BE49-F238E27FC236}">
                <a16:creationId xmlns:a16="http://schemas.microsoft.com/office/drawing/2014/main" id="{26B4C449-2487-DF2A-7645-8218B023E59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D7090765-328D-D615-6AFB-B0F52307537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Picture Placeholder 91">
            <a:extLst>
              <a:ext uri="{FF2B5EF4-FFF2-40B4-BE49-F238E27FC236}">
                <a16:creationId xmlns:a16="http://schemas.microsoft.com/office/drawing/2014/main" id="{04E11CE5-CC63-4DF3-91BC-7D123FA2380B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9F6050B-0591-0406-0A2B-C58DB12244B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Picture Placeholder 91">
            <a:extLst>
              <a:ext uri="{FF2B5EF4-FFF2-40B4-BE49-F238E27FC236}">
                <a16:creationId xmlns:a16="http://schemas.microsoft.com/office/drawing/2014/main" id="{95D4FFE4-0D64-5F30-AD0F-100BD6D65389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4F52E6D-F9EF-905D-6975-963F7D958ED5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Picture Placeholder 91">
            <a:extLst>
              <a:ext uri="{FF2B5EF4-FFF2-40B4-BE49-F238E27FC236}">
                <a16:creationId xmlns:a16="http://schemas.microsoft.com/office/drawing/2014/main" id="{02D2CE40-9732-D3AB-4F10-762299122CE1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C4A7D748-90AF-308A-44E9-BE56492932E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6" name="Text Placeholder 26">
            <a:extLst>
              <a:ext uri="{FF2B5EF4-FFF2-40B4-BE49-F238E27FC236}">
                <a16:creationId xmlns:a16="http://schemas.microsoft.com/office/drawing/2014/main" id="{ED360C76-27A8-44D1-6730-F7FA8D1EC543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8863499-99BA-9382-A790-8823B96ABCD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6767173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6F6140-34D9-F6B3-6BCD-3A50DD37FE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3084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7EE611-EA9F-2CB5-2ACF-EF4D756FF28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6800" y="270000"/>
            <a:ext cx="5737225" cy="600835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781BB63-AF6A-9F70-47D8-BF333C1618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4416523"/>
            <a:ext cx="3778250" cy="1816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0D3F3-D407-76CD-22B7-F52045970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093E36D-AA36-08D5-DD80-6469123BE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302" y="713620"/>
            <a:ext cx="5733083" cy="274691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9762296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5B587F7-0E47-48EC-A5BC-5623F62D61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0D3F3-D407-76CD-22B7-F52045970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8602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4D7FB2-B0CA-4C96-0E9E-CB4BA9057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5732003" cy="4448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1" y="1822450"/>
            <a:ext cx="5734049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0BC13B-177D-A0D3-7A97-8F3C3A8E73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6361D27-85D4-45EB-31D3-6D805D2E106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476921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C8828CA-7D5C-3E61-D35B-06A376A83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51"/>
            <a:ext cx="3773029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08923" y="1822451"/>
            <a:ext cx="3773028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07DFA4-9148-416B-352F-29E5676A6A0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29587" y="1822451"/>
            <a:ext cx="3773028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5200" y="295200"/>
            <a:ext cx="3773488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D960C6BF-F9C7-01C8-7601-5B209FAE017D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516021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Accessible Version]">
    <p:bg>
      <p:bgPr>
        <a:solidFill>
          <a:srgbClr val="F6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1082"/>
            <a:ext cx="9656119" cy="2617640"/>
          </a:xfrm>
        </p:spPr>
        <p:txBody>
          <a:bodyPr anchor="t"/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81BA223A-6973-8C60-D519-0AA8E983C929}"/>
              </a:ext>
            </a:extLst>
          </p:cNvPr>
          <p:cNvSpPr>
            <a:spLocks noChangeAspect="1"/>
          </p:cNvSpPr>
          <p:nvPr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tx2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37659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FD914B4A-06B9-EB7A-743E-14A65604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2903A13-6903-3CAB-953B-86997724B4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2099" y="1306514"/>
            <a:ext cx="3770314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1B5E5492-00A8-B509-4464-956D8959E92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06876" y="1306514"/>
            <a:ext cx="3775076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230A832-8B14-0097-7902-DB48A4A889E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4" y="1306514"/>
            <a:ext cx="3775075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C00D127-E34B-E7AD-7F27-D3CB551350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957F58C-3461-45A3-5C7B-FEC0AE9787AA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0E54879-16D3-D32C-7096-C2022A52D2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925" y="3357563"/>
            <a:ext cx="37692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11B2AEB-EC1B-D6B6-2A0C-C42A73F419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06876" y="3357563"/>
            <a:ext cx="37764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04DF7D6-F323-CF70-9E5E-634416CD4F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24824" y="3357563"/>
            <a:ext cx="37764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16200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7510D54-8AF6-FB56-756F-08A956F57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2793541" cy="4448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3" y="1822450"/>
            <a:ext cx="2795586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1" y="1822450"/>
            <a:ext cx="2793542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4313" y="1822450"/>
            <a:ext cx="2795587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E3C7D5F1-8B5D-5312-7A0B-9754F64800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22B44CB-D9B7-ACB7-EC09-74A55C85B1A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5605861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5EFD4EAF-3D60-DC5D-9020-CF7FB8FB5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E9C5E07-6992-3F19-1B3D-971FA4CAA6E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2100" y="1306514"/>
            <a:ext cx="2790825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DFC9CD2-F9F0-5542-03DE-0F1FE57839D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25800" y="1306515"/>
            <a:ext cx="2795588" cy="1906586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E872F4-C139-6D56-50F9-7D21C3B1C8C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5850" y="1306513"/>
            <a:ext cx="2795588" cy="190817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712E5D-D603-F9AE-3C3A-D37795F752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04313" y="1306513"/>
            <a:ext cx="2799890" cy="190658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9D9921F-F7C4-B7B7-7BFB-FFFA54F89A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6811233-C261-B7A8-9BF5-E6DBD474B2D8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B473CBC-7605-D3E8-783C-F925B286C46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925" y="3357563"/>
            <a:ext cx="2790825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5F5363E-BC98-62D0-50C8-BB47491FC9D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33115" y="3357563"/>
            <a:ext cx="2796156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2CFDC76E-CB6A-2A48-41EF-35223633C7F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5321" y="3357563"/>
            <a:ext cx="2796156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12E56C66-93E1-5486-DC8D-DDF4C1E184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04313" y="3357563"/>
            <a:ext cx="28008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95871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31294"/>
            <a:ext cx="2793541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32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2" y="1831294"/>
            <a:ext cx="2793542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0" y="1831294"/>
            <a:ext cx="2803525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 dirty="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5903" y="1831294"/>
            <a:ext cx="2793997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837F62A-0DBC-5C4E-10B1-0A4CD4ADF81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9384" y="3871912"/>
            <a:ext cx="2793541" cy="189388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19C36C2-D521-FEE7-A6AC-5710B0CDB35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165851" y="3871912"/>
            <a:ext cx="2795588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B6994DE-2295-D9C1-5B16-D2099A81641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225801" y="3871912"/>
            <a:ext cx="2795588" cy="189388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5D14BC0-5573-6189-1430-BDA9443B265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04313" y="3871912"/>
            <a:ext cx="2795587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8166EB3-B625-A7A5-5E35-6D81B2C4EA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EC560DE3-3204-EFCC-1AF1-2D91CA826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09115CA6-F35D-BB63-6BE4-D7293F65797E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233531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306513"/>
            <a:ext cx="5732003" cy="4964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38B81BC-7790-A8A7-F32D-C3F126E7C5D3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65850" y="1306513"/>
            <a:ext cx="5737225" cy="4964112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8257768-4CDB-6207-FCBD-946306C93D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83801" y="330199"/>
            <a:ext cx="1816100" cy="841376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800" b="0" i="0">
                <a:latin typeface="+mn-lt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E77B21E-A040-7CC6-4F9B-B89C94289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25C5CD-1985-D608-1D27-9FBC395FE641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3105553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698C230B-5408-E1A5-CFA9-2F383131120D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292100" y="1306512"/>
            <a:ext cx="3770313" cy="394493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BA18FE4-4638-2816-D5EB-4ABC061297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480" y="5394325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hart Placeholder 10">
            <a:extLst>
              <a:ext uri="{FF2B5EF4-FFF2-40B4-BE49-F238E27FC236}">
                <a16:creationId xmlns:a16="http://schemas.microsoft.com/office/drawing/2014/main" id="{446A3E25-507C-4190-4950-DA0C712EB336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206875" y="1306513"/>
            <a:ext cx="3775076" cy="3944936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DD2F21A-FE62-6E81-6F5B-9A76691ED2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06874" y="5394325"/>
            <a:ext cx="3775076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hart Placeholder 10">
            <a:extLst>
              <a:ext uri="{FF2B5EF4-FFF2-40B4-BE49-F238E27FC236}">
                <a16:creationId xmlns:a16="http://schemas.microsoft.com/office/drawing/2014/main" id="{94EF43E1-5534-96EF-52FD-3CD0B7B21E71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8124825" y="1306512"/>
            <a:ext cx="3770313" cy="394493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74660EF-5B4C-59FD-5DE9-C6AEEC3EA78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4205" y="5394325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FD82D33-FC73-4137-A0A9-8EB43DA1A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959997-A6D7-96D1-8672-5FCDE45DB7B3}"/>
              </a:ext>
            </a:extLst>
          </p:cNvPr>
          <p:cNvSpPr>
            <a:spLocks noGrp="1"/>
          </p:cNvSpPr>
          <p:nvPr>
            <p:ph type="subTitle" idx="22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6994484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B425E56B-E4E3-AAD1-76B4-3D67B284EB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66824" y="6413500"/>
            <a:ext cx="4754563" cy="15346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703E3838-150C-B34D-4F16-CEA95E3C0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4874" y="6413500"/>
            <a:ext cx="837741" cy="15346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Table Placeholder 5">
            <a:extLst>
              <a:ext uri="{FF2B5EF4-FFF2-40B4-BE49-F238E27FC236}">
                <a16:creationId xmlns:a16="http://schemas.microsoft.com/office/drawing/2014/main" id="{AA00D851-11FE-02AE-0FE0-9A7CAC67EF7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92100" y="2847975"/>
            <a:ext cx="11610975" cy="3143518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DD0AA4-DA06-999E-8621-24713C5D3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F1CADF7-2181-199A-E8E5-8BFDAFCB65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BE7CDC5-71B1-1F0B-9FBF-16B0C364877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9515116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7F42810-DCAF-7A30-3A4F-E23EA682FA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3525"/>
            <a:ext cx="377825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373482F-4FA8-181D-CA6D-04D8D98AD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4BCB963-058E-5C5B-947F-AC1D9DD6C9F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566661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5D6A6F-0428-2EB9-8170-122B4D256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F06E5F-8043-3DC0-2D79-119BF9908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954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F6F3F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r subtitle over the image ensure the text is legibl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B94300B-C77D-1F3F-A75F-F3E8D1A2D0B2}"/>
              </a:ext>
            </a:extLst>
          </p:cNvPr>
          <p:cNvSpPr txBox="1">
            <a:spLocks/>
          </p:cNvSpPr>
          <p:nvPr/>
        </p:nvSpPr>
        <p:spPr>
          <a:xfrm>
            <a:off x="114300" y="6096000"/>
            <a:ext cx="1009650" cy="660400"/>
          </a:xfrm>
          <a:custGeom>
            <a:avLst/>
            <a:gdLst>
              <a:gd name="connsiteX0" fmla="*/ 0 w 1009650"/>
              <a:gd name="connsiteY0" fmla="*/ 0 h 660400"/>
              <a:gd name="connsiteX1" fmla="*/ 1009650 w 1009650"/>
              <a:gd name="connsiteY1" fmla="*/ 0 h 660400"/>
              <a:gd name="connsiteX2" fmla="*/ 1009650 w 1009650"/>
              <a:gd name="connsiteY2" fmla="*/ 660400 h 660400"/>
              <a:gd name="connsiteX3" fmla="*/ 0 w 1009650"/>
              <a:gd name="connsiteY3" fmla="*/ 660400 h 660400"/>
              <a:gd name="connsiteX4" fmla="*/ 0 w 1009650"/>
              <a:gd name="connsiteY4" fmla="*/ 0 h 660400"/>
              <a:gd name="connsiteX5" fmla="*/ 334111 w 1009650"/>
              <a:gd name="connsiteY5" fmla="*/ 317500 h 660400"/>
              <a:gd name="connsiteX6" fmla="*/ 290920 w 1009650"/>
              <a:gd name="connsiteY6" fmla="*/ 353764 h 660400"/>
              <a:gd name="connsiteX7" fmla="*/ 307700 w 1009650"/>
              <a:gd name="connsiteY7" fmla="*/ 388779 h 660400"/>
              <a:gd name="connsiteX8" fmla="*/ 307903 w 1009650"/>
              <a:gd name="connsiteY8" fmla="*/ 389200 h 660400"/>
              <a:gd name="connsiteX9" fmla="*/ 277918 w 1009650"/>
              <a:gd name="connsiteY9" fmla="*/ 431331 h 660400"/>
              <a:gd name="connsiteX10" fmla="*/ 320063 w 1009650"/>
              <a:gd name="connsiteY10" fmla="*/ 470950 h 660400"/>
              <a:gd name="connsiteX11" fmla="*/ 367452 w 1009650"/>
              <a:gd name="connsiteY11" fmla="*/ 453972 h 660400"/>
              <a:gd name="connsiteX12" fmla="*/ 380033 w 1009650"/>
              <a:gd name="connsiteY12" fmla="*/ 467595 h 660400"/>
              <a:gd name="connsiteX13" fmla="*/ 412953 w 1009650"/>
              <a:gd name="connsiteY13" fmla="*/ 467595 h 660400"/>
              <a:gd name="connsiteX14" fmla="*/ 412953 w 1009650"/>
              <a:gd name="connsiteY14" fmla="*/ 466549 h 660400"/>
              <a:gd name="connsiteX15" fmla="*/ 386106 w 1009650"/>
              <a:gd name="connsiteY15" fmla="*/ 436995 h 660400"/>
              <a:gd name="connsiteX16" fmla="*/ 386120 w 1009650"/>
              <a:gd name="connsiteY16" fmla="*/ 436995 h 660400"/>
              <a:gd name="connsiteX17" fmla="*/ 403945 w 1009650"/>
              <a:gd name="connsiteY17" fmla="*/ 396113 h 660400"/>
              <a:gd name="connsiteX18" fmla="*/ 376474 w 1009650"/>
              <a:gd name="connsiteY18" fmla="*/ 369492 h 660400"/>
              <a:gd name="connsiteX19" fmla="*/ 351312 w 1009650"/>
              <a:gd name="connsiteY19" fmla="*/ 374518 h 660400"/>
              <a:gd name="connsiteX20" fmla="*/ 350891 w 1009650"/>
              <a:gd name="connsiteY20" fmla="*/ 373675 h 660400"/>
              <a:gd name="connsiteX21" fmla="*/ 373539 w 1009650"/>
              <a:gd name="connsiteY21" fmla="*/ 346009 h 660400"/>
              <a:gd name="connsiteX22" fmla="*/ 334111 w 1009650"/>
              <a:gd name="connsiteY22" fmla="*/ 317500 h 660400"/>
              <a:gd name="connsiteX23" fmla="*/ 494539 w 1009650"/>
              <a:gd name="connsiteY23" fmla="*/ 320869 h 660400"/>
              <a:gd name="connsiteX24" fmla="*/ 494539 w 1009650"/>
              <a:gd name="connsiteY24" fmla="*/ 429253 h 660400"/>
              <a:gd name="connsiteX25" fmla="*/ 471890 w 1009650"/>
              <a:gd name="connsiteY25" fmla="*/ 457341 h 660400"/>
              <a:gd name="connsiteX26" fmla="*/ 449242 w 1009650"/>
              <a:gd name="connsiteY26" fmla="*/ 427148 h 660400"/>
              <a:gd name="connsiteX27" fmla="*/ 449242 w 1009650"/>
              <a:gd name="connsiteY27" fmla="*/ 407019 h 660400"/>
              <a:gd name="connsiteX28" fmla="*/ 423238 w 1009650"/>
              <a:gd name="connsiteY28" fmla="*/ 413511 h 660400"/>
              <a:gd name="connsiteX29" fmla="*/ 423238 w 1009650"/>
              <a:gd name="connsiteY29" fmla="*/ 422530 h 660400"/>
              <a:gd name="connsiteX30" fmla="*/ 471890 w 1009650"/>
              <a:gd name="connsiteY30" fmla="*/ 470950 h 660400"/>
              <a:gd name="connsiteX31" fmla="*/ 471890 w 1009650"/>
              <a:gd name="connsiteY31" fmla="*/ 470963 h 660400"/>
              <a:gd name="connsiteX32" fmla="*/ 520543 w 1009650"/>
              <a:gd name="connsiteY32" fmla="*/ 422543 h 660400"/>
              <a:gd name="connsiteX33" fmla="*/ 520543 w 1009650"/>
              <a:gd name="connsiteY33" fmla="*/ 320869 h 660400"/>
              <a:gd name="connsiteX34" fmla="*/ 494539 w 1009650"/>
              <a:gd name="connsiteY34" fmla="*/ 320869 h 660400"/>
              <a:gd name="connsiteX35" fmla="*/ 231154 w 1009650"/>
              <a:gd name="connsiteY35" fmla="*/ 320869 h 660400"/>
              <a:gd name="connsiteX36" fmla="*/ 231154 w 1009650"/>
              <a:gd name="connsiteY36" fmla="*/ 429253 h 660400"/>
              <a:gd name="connsiteX37" fmla="*/ 208506 w 1009650"/>
              <a:gd name="connsiteY37" fmla="*/ 457341 h 660400"/>
              <a:gd name="connsiteX38" fmla="*/ 185857 w 1009650"/>
              <a:gd name="connsiteY38" fmla="*/ 427148 h 660400"/>
              <a:gd name="connsiteX39" fmla="*/ 185857 w 1009650"/>
              <a:gd name="connsiteY39" fmla="*/ 407019 h 660400"/>
              <a:gd name="connsiteX40" fmla="*/ 159853 w 1009650"/>
              <a:gd name="connsiteY40" fmla="*/ 413511 h 660400"/>
              <a:gd name="connsiteX41" fmla="*/ 159853 w 1009650"/>
              <a:gd name="connsiteY41" fmla="*/ 422530 h 660400"/>
              <a:gd name="connsiteX42" fmla="*/ 208506 w 1009650"/>
              <a:gd name="connsiteY42" fmla="*/ 470950 h 660400"/>
              <a:gd name="connsiteX43" fmla="*/ 257158 w 1009650"/>
              <a:gd name="connsiteY43" fmla="*/ 422530 h 660400"/>
              <a:gd name="connsiteX44" fmla="*/ 257158 w 1009650"/>
              <a:gd name="connsiteY44" fmla="*/ 320869 h 660400"/>
              <a:gd name="connsiteX45" fmla="*/ 231154 w 1009650"/>
              <a:gd name="connsiteY45" fmla="*/ 320869 h 66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09650" h="660400">
                <a:moveTo>
                  <a:pt x="0" y="0"/>
                </a:moveTo>
                <a:lnTo>
                  <a:pt x="1009650" y="0"/>
                </a:lnTo>
                <a:lnTo>
                  <a:pt x="1009650" y="660400"/>
                </a:lnTo>
                <a:lnTo>
                  <a:pt x="0" y="660400"/>
                </a:lnTo>
                <a:lnTo>
                  <a:pt x="0" y="0"/>
                </a:lnTo>
                <a:close/>
                <a:moveTo>
                  <a:pt x="334111" y="317500"/>
                </a:moveTo>
                <a:cubicBezTo>
                  <a:pt x="305173" y="317500"/>
                  <a:pt x="290920" y="333636"/>
                  <a:pt x="290920" y="353764"/>
                </a:cubicBezTo>
                <a:cubicBezTo>
                  <a:pt x="290920" y="364670"/>
                  <a:pt x="295540" y="375563"/>
                  <a:pt x="307700" y="388779"/>
                </a:cubicBezTo>
                <a:lnTo>
                  <a:pt x="307903" y="389200"/>
                </a:lnTo>
                <a:cubicBezTo>
                  <a:pt x="287347" y="399047"/>
                  <a:pt x="277918" y="414978"/>
                  <a:pt x="277918" y="431331"/>
                </a:cubicBezTo>
                <a:cubicBezTo>
                  <a:pt x="277918" y="452926"/>
                  <a:pt x="294480" y="470950"/>
                  <a:pt x="320063" y="470950"/>
                </a:cubicBezTo>
                <a:cubicBezTo>
                  <a:pt x="334736" y="470950"/>
                  <a:pt x="351937" y="464865"/>
                  <a:pt x="367452" y="453972"/>
                </a:cubicBezTo>
                <a:lnTo>
                  <a:pt x="380033" y="467595"/>
                </a:lnTo>
                <a:lnTo>
                  <a:pt x="412953" y="467595"/>
                </a:lnTo>
                <a:lnTo>
                  <a:pt x="412953" y="466549"/>
                </a:lnTo>
                <a:lnTo>
                  <a:pt x="386106" y="436995"/>
                </a:lnTo>
                <a:lnTo>
                  <a:pt x="386120" y="436995"/>
                </a:lnTo>
                <a:cubicBezTo>
                  <a:pt x="397437" y="423576"/>
                  <a:pt x="403945" y="408907"/>
                  <a:pt x="403945" y="396113"/>
                </a:cubicBezTo>
                <a:cubicBezTo>
                  <a:pt x="403945" y="380181"/>
                  <a:pt x="393253" y="369492"/>
                  <a:pt x="376474" y="369492"/>
                </a:cubicBezTo>
                <a:cubicBezTo>
                  <a:pt x="367670" y="369492"/>
                  <a:pt x="357806" y="372005"/>
                  <a:pt x="351312" y="374518"/>
                </a:cubicBezTo>
                <a:lnTo>
                  <a:pt x="350891" y="373675"/>
                </a:lnTo>
                <a:cubicBezTo>
                  <a:pt x="366827" y="365078"/>
                  <a:pt x="373539" y="357119"/>
                  <a:pt x="373539" y="346009"/>
                </a:cubicBezTo>
                <a:cubicBezTo>
                  <a:pt x="373539" y="330077"/>
                  <a:pt x="359273" y="317500"/>
                  <a:pt x="334111" y="317500"/>
                </a:cubicBezTo>
                <a:close/>
                <a:moveTo>
                  <a:pt x="494539" y="320869"/>
                </a:moveTo>
                <a:lnTo>
                  <a:pt x="494539" y="429253"/>
                </a:lnTo>
                <a:cubicBezTo>
                  <a:pt x="494539" y="446855"/>
                  <a:pt x="487827" y="457341"/>
                  <a:pt x="471890" y="457341"/>
                </a:cubicBezTo>
                <a:cubicBezTo>
                  <a:pt x="455954" y="457341"/>
                  <a:pt x="449242" y="446230"/>
                  <a:pt x="449242" y="427148"/>
                </a:cubicBezTo>
                <a:lnTo>
                  <a:pt x="449242" y="407019"/>
                </a:lnTo>
                <a:lnTo>
                  <a:pt x="423238" y="413511"/>
                </a:lnTo>
                <a:lnTo>
                  <a:pt x="423238" y="422530"/>
                </a:lnTo>
                <a:cubicBezTo>
                  <a:pt x="423238" y="449993"/>
                  <a:pt x="436865" y="470950"/>
                  <a:pt x="471890" y="470950"/>
                </a:cubicBezTo>
                <a:lnTo>
                  <a:pt x="471890" y="470963"/>
                </a:lnTo>
                <a:cubicBezTo>
                  <a:pt x="506916" y="470963"/>
                  <a:pt x="520543" y="450006"/>
                  <a:pt x="520543" y="422543"/>
                </a:cubicBezTo>
                <a:lnTo>
                  <a:pt x="520543" y="320869"/>
                </a:lnTo>
                <a:lnTo>
                  <a:pt x="494539" y="320869"/>
                </a:lnTo>
                <a:close/>
                <a:moveTo>
                  <a:pt x="231154" y="320869"/>
                </a:moveTo>
                <a:lnTo>
                  <a:pt x="231154" y="429253"/>
                </a:lnTo>
                <a:cubicBezTo>
                  <a:pt x="231154" y="446855"/>
                  <a:pt x="224443" y="457341"/>
                  <a:pt x="208506" y="457341"/>
                </a:cubicBezTo>
                <a:cubicBezTo>
                  <a:pt x="192569" y="457341"/>
                  <a:pt x="185857" y="446230"/>
                  <a:pt x="185857" y="427148"/>
                </a:cubicBezTo>
                <a:lnTo>
                  <a:pt x="185857" y="407019"/>
                </a:lnTo>
                <a:lnTo>
                  <a:pt x="159853" y="413511"/>
                </a:lnTo>
                <a:lnTo>
                  <a:pt x="159853" y="422530"/>
                </a:lnTo>
                <a:cubicBezTo>
                  <a:pt x="159853" y="449993"/>
                  <a:pt x="173480" y="470950"/>
                  <a:pt x="208506" y="470950"/>
                </a:cubicBezTo>
                <a:cubicBezTo>
                  <a:pt x="243531" y="470950"/>
                  <a:pt x="257158" y="449993"/>
                  <a:pt x="257158" y="422530"/>
                </a:cubicBezTo>
                <a:lnTo>
                  <a:pt x="257158" y="320869"/>
                </a:lnTo>
                <a:lnTo>
                  <a:pt x="231154" y="320869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2pPr>
            <a:lvl3pPr marL="546100" indent="-2603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4500" kern="1200">
                <a:solidFill>
                  <a:schemeClr val="tx2"/>
                </a:solidFill>
                <a:latin typeface="Johnson Display BETA Display" pitchFamily="2" charset="77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079C00-CC52-F9ED-ED36-A8FC05735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95A4114-449A-5D28-03F8-03221E42A65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964944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5788784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11E89327-3BBA-1507-2BFB-0E509816FBA8}"/>
              </a:ext>
            </a:extLst>
          </p:cNvPr>
          <p:cNvSpPr/>
          <p:nvPr userDrawn="1"/>
        </p:nvSpPr>
        <p:spPr>
          <a:xfrm>
            <a:off x="291593" y="281482"/>
            <a:ext cx="2032407" cy="189099"/>
          </a:xfrm>
          <a:custGeom>
            <a:avLst/>
            <a:gdLst>
              <a:gd name="connsiteX0" fmla="*/ 786066 w 7948307"/>
              <a:gd name="connsiteY0" fmla="*/ 677532 h 739526"/>
              <a:gd name="connsiteX1" fmla="*/ 664794 w 7948307"/>
              <a:gd name="connsiteY1" fmla="*/ 470470 h 739526"/>
              <a:gd name="connsiteX2" fmla="*/ 786066 w 7948307"/>
              <a:gd name="connsiteY2" fmla="*/ 263408 h 739526"/>
              <a:gd name="connsiteX3" fmla="*/ 907339 w 7948307"/>
              <a:gd name="connsiteY3" fmla="*/ 470470 h 739526"/>
              <a:gd name="connsiteX4" fmla="*/ 786066 w 7948307"/>
              <a:gd name="connsiteY4" fmla="*/ 677532 h 739526"/>
              <a:gd name="connsiteX5" fmla="*/ 786066 w 7948307"/>
              <a:gd name="connsiteY5" fmla="*/ 207889 h 739526"/>
              <a:gd name="connsiteX6" fmla="*/ 539525 w 7948307"/>
              <a:gd name="connsiteY6" fmla="*/ 470470 h 739526"/>
              <a:gd name="connsiteX7" fmla="*/ 786066 w 7948307"/>
              <a:gd name="connsiteY7" fmla="*/ 733052 h 739526"/>
              <a:gd name="connsiteX8" fmla="*/ 1032607 w 7948307"/>
              <a:gd name="connsiteY8" fmla="*/ 470470 h 739526"/>
              <a:gd name="connsiteX9" fmla="*/ 786066 w 7948307"/>
              <a:gd name="connsiteY9" fmla="*/ 207889 h 739526"/>
              <a:gd name="connsiteX10" fmla="*/ 1888405 w 7948307"/>
              <a:gd name="connsiteY10" fmla="*/ 207889 h 739526"/>
              <a:gd name="connsiteX11" fmla="*/ 1748942 w 7948307"/>
              <a:gd name="connsiteY11" fmla="*/ 281593 h 739526"/>
              <a:gd name="connsiteX12" fmla="*/ 1742878 w 7948307"/>
              <a:gd name="connsiteY12" fmla="*/ 281593 h 739526"/>
              <a:gd name="connsiteX13" fmla="*/ 1742878 w 7948307"/>
              <a:gd name="connsiteY13" fmla="*/ 217945 h 739526"/>
              <a:gd name="connsiteX14" fmla="*/ 1623673 w 7948307"/>
              <a:gd name="connsiteY14" fmla="*/ 217945 h 739526"/>
              <a:gd name="connsiteX15" fmla="*/ 1623673 w 7948307"/>
              <a:gd name="connsiteY15" fmla="*/ 722995 h 739526"/>
              <a:gd name="connsiteX16" fmla="*/ 1742878 w 7948307"/>
              <a:gd name="connsiteY16" fmla="*/ 722995 h 739526"/>
              <a:gd name="connsiteX17" fmla="*/ 1742878 w 7948307"/>
              <a:gd name="connsiteY17" fmla="*/ 396765 h 739526"/>
              <a:gd name="connsiteX18" fmla="*/ 1842928 w 7948307"/>
              <a:gd name="connsiteY18" fmla="*/ 278562 h 739526"/>
              <a:gd name="connsiteX19" fmla="*/ 1928783 w 7948307"/>
              <a:gd name="connsiteY19" fmla="*/ 377616 h 739526"/>
              <a:gd name="connsiteX20" fmla="*/ 1928783 w 7948307"/>
              <a:gd name="connsiteY20" fmla="*/ 722995 h 739526"/>
              <a:gd name="connsiteX21" fmla="*/ 2047989 w 7948307"/>
              <a:gd name="connsiteY21" fmla="*/ 722995 h 739526"/>
              <a:gd name="connsiteX22" fmla="*/ 2047989 w 7948307"/>
              <a:gd name="connsiteY22" fmla="*/ 376514 h 739526"/>
              <a:gd name="connsiteX23" fmla="*/ 1888405 w 7948307"/>
              <a:gd name="connsiteY23" fmla="*/ 207889 h 739526"/>
              <a:gd name="connsiteX24" fmla="*/ 2318785 w 7948307"/>
              <a:gd name="connsiteY24" fmla="*/ 207889 h 739526"/>
              <a:gd name="connsiteX25" fmla="*/ 2125851 w 7948307"/>
              <a:gd name="connsiteY25" fmla="*/ 353369 h 739526"/>
              <a:gd name="connsiteX26" fmla="*/ 2248089 w 7948307"/>
              <a:gd name="connsiteY26" fmla="*/ 498850 h 739526"/>
              <a:gd name="connsiteX27" fmla="*/ 2349103 w 7948307"/>
              <a:gd name="connsiteY27" fmla="*/ 524061 h 739526"/>
              <a:gd name="connsiteX28" fmla="*/ 2426965 w 7948307"/>
              <a:gd name="connsiteY28" fmla="*/ 598868 h 739526"/>
              <a:gd name="connsiteX29" fmla="*/ 2326916 w 7948307"/>
              <a:gd name="connsiteY29" fmla="*/ 679736 h 739526"/>
              <a:gd name="connsiteX30" fmla="*/ 2211707 w 7948307"/>
              <a:gd name="connsiteY30" fmla="*/ 562635 h 739526"/>
              <a:gd name="connsiteX31" fmla="*/ 2104629 w 7948307"/>
              <a:gd name="connsiteY31" fmla="*/ 592944 h 739526"/>
              <a:gd name="connsiteX32" fmla="*/ 2313824 w 7948307"/>
              <a:gd name="connsiteY32" fmla="*/ 733327 h 739526"/>
              <a:gd name="connsiteX33" fmla="*/ 2523983 w 7948307"/>
              <a:gd name="connsiteY33" fmla="*/ 568697 h 739526"/>
              <a:gd name="connsiteX34" fmla="*/ 2389619 w 7948307"/>
              <a:gd name="connsiteY34" fmla="*/ 417155 h 739526"/>
              <a:gd name="connsiteX35" fmla="*/ 2292601 w 7948307"/>
              <a:gd name="connsiteY35" fmla="*/ 392908 h 739526"/>
              <a:gd name="connsiteX36" fmla="*/ 2222869 w 7948307"/>
              <a:gd name="connsiteY36" fmla="*/ 326229 h 739526"/>
              <a:gd name="connsiteX37" fmla="*/ 2308725 w 7948307"/>
              <a:gd name="connsiteY37" fmla="*/ 261617 h 739526"/>
              <a:gd name="connsiteX38" fmla="*/ 2411806 w 7948307"/>
              <a:gd name="connsiteY38" fmla="*/ 358604 h 739526"/>
              <a:gd name="connsiteX39" fmla="*/ 2512821 w 7948307"/>
              <a:gd name="connsiteY39" fmla="*/ 328296 h 739526"/>
              <a:gd name="connsiteX40" fmla="*/ 2318785 w 7948307"/>
              <a:gd name="connsiteY40" fmla="*/ 208164 h 739526"/>
              <a:gd name="connsiteX41" fmla="*/ 2819861 w 7948307"/>
              <a:gd name="connsiteY41" fmla="*/ 677807 h 739526"/>
              <a:gd name="connsiteX42" fmla="*/ 2698588 w 7948307"/>
              <a:gd name="connsiteY42" fmla="*/ 470746 h 739526"/>
              <a:gd name="connsiteX43" fmla="*/ 2819861 w 7948307"/>
              <a:gd name="connsiteY43" fmla="*/ 263684 h 739526"/>
              <a:gd name="connsiteX44" fmla="*/ 2941133 w 7948307"/>
              <a:gd name="connsiteY44" fmla="*/ 470746 h 739526"/>
              <a:gd name="connsiteX45" fmla="*/ 2819861 w 7948307"/>
              <a:gd name="connsiteY45" fmla="*/ 677807 h 739526"/>
              <a:gd name="connsiteX46" fmla="*/ 2819861 w 7948307"/>
              <a:gd name="connsiteY46" fmla="*/ 208164 h 739526"/>
              <a:gd name="connsiteX47" fmla="*/ 2573319 w 7948307"/>
              <a:gd name="connsiteY47" fmla="*/ 470746 h 739526"/>
              <a:gd name="connsiteX48" fmla="*/ 2819861 w 7948307"/>
              <a:gd name="connsiteY48" fmla="*/ 733327 h 739526"/>
              <a:gd name="connsiteX49" fmla="*/ 3066402 w 7948307"/>
              <a:gd name="connsiteY49" fmla="*/ 470746 h 739526"/>
              <a:gd name="connsiteX50" fmla="*/ 2819861 w 7948307"/>
              <a:gd name="connsiteY50" fmla="*/ 208164 h 739526"/>
              <a:gd name="connsiteX51" fmla="*/ 3401831 w 7948307"/>
              <a:gd name="connsiteY51" fmla="*/ 208164 h 739526"/>
              <a:gd name="connsiteX52" fmla="*/ 3262367 w 7948307"/>
              <a:gd name="connsiteY52" fmla="*/ 281869 h 739526"/>
              <a:gd name="connsiteX53" fmla="*/ 3256304 w 7948307"/>
              <a:gd name="connsiteY53" fmla="*/ 281869 h 739526"/>
              <a:gd name="connsiteX54" fmla="*/ 3256304 w 7948307"/>
              <a:gd name="connsiteY54" fmla="*/ 218221 h 739526"/>
              <a:gd name="connsiteX55" fmla="*/ 3137098 w 7948307"/>
              <a:gd name="connsiteY55" fmla="*/ 218221 h 739526"/>
              <a:gd name="connsiteX56" fmla="*/ 3137098 w 7948307"/>
              <a:gd name="connsiteY56" fmla="*/ 723270 h 739526"/>
              <a:gd name="connsiteX57" fmla="*/ 3256304 w 7948307"/>
              <a:gd name="connsiteY57" fmla="*/ 723270 h 739526"/>
              <a:gd name="connsiteX58" fmla="*/ 3256304 w 7948307"/>
              <a:gd name="connsiteY58" fmla="*/ 397041 h 739526"/>
              <a:gd name="connsiteX59" fmla="*/ 3356353 w 7948307"/>
              <a:gd name="connsiteY59" fmla="*/ 278838 h 739526"/>
              <a:gd name="connsiteX60" fmla="*/ 3442209 w 7948307"/>
              <a:gd name="connsiteY60" fmla="*/ 377891 h 739526"/>
              <a:gd name="connsiteX61" fmla="*/ 3442209 w 7948307"/>
              <a:gd name="connsiteY61" fmla="*/ 723270 h 739526"/>
              <a:gd name="connsiteX62" fmla="*/ 3561414 w 7948307"/>
              <a:gd name="connsiteY62" fmla="*/ 723270 h 739526"/>
              <a:gd name="connsiteX63" fmla="*/ 3561414 w 7948307"/>
              <a:gd name="connsiteY63" fmla="*/ 376789 h 739526"/>
              <a:gd name="connsiteX64" fmla="*/ 3401831 w 7948307"/>
              <a:gd name="connsiteY64" fmla="*/ 208164 h 739526"/>
              <a:gd name="connsiteX65" fmla="*/ 5172960 w 7948307"/>
              <a:gd name="connsiteY65" fmla="*/ 677807 h 739526"/>
              <a:gd name="connsiteX66" fmla="*/ 5051688 w 7948307"/>
              <a:gd name="connsiteY66" fmla="*/ 470746 h 739526"/>
              <a:gd name="connsiteX67" fmla="*/ 5172960 w 7948307"/>
              <a:gd name="connsiteY67" fmla="*/ 263684 h 739526"/>
              <a:gd name="connsiteX68" fmla="*/ 5294232 w 7948307"/>
              <a:gd name="connsiteY68" fmla="*/ 470746 h 739526"/>
              <a:gd name="connsiteX69" fmla="*/ 5172960 w 7948307"/>
              <a:gd name="connsiteY69" fmla="*/ 677807 h 739526"/>
              <a:gd name="connsiteX70" fmla="*/ 5172960 w 7948307"/>
              <a:gd name="connsiteY70" fmla="*/ 208164 h 739526"/>
              <a:gd name="connsiteX71" fmla="*/ 4926418 w 7948307"/>
              <a:gd name="connsiteY71" fmla="*/ 470746 h 739526"/>
              <a:gd name="connsiteX72" fmla="*/ 5172960 w 7948307"/>
              <a:gd name="connsiteY72" fmla="*/ 733327 h 739526"/>
              <a:gd name="connsiteX73" fmla="*/ 5419502 w 7948307"/>
              <a:gd name="connsiteY73" fmla="*/ 470746 h 739526"/>
              <a:gd name="connsiteX74" fmla="*/ 5172960 w 7948307"/>
              <a:gd name="connsiteY74" fmla="*/ 208164 h 739526"/>
              <a:gd name="connsiteX75" fmla="*/ 6275299 w 7948307"/>
              <a:gd name="connsiteY75" fmla="*/ 208164 h 739526"/>
              <a:gd name="connsiteX76" fmla="*/ 6135836 w 7948307"/>
              <a:gd name="connsiteY76" fmla="*/ 281869 h 739526"/>
              <a:gd name="connsiteX77" fmla="*/ 6129772 w 7948307"/>
              <a:gd name="connsiteY77" fmla="*/ 281869 h 739526"/>
              <a:gd name="connsiteX78" fmla="*/ 6129772 w 7948307"/>
              <a:gd name="connsiteY78" fmla="*/ 218221 h 739526"/>
              <a:gd name="connsiteX79" fmla="*/ 6010567 w 7948307"/>
              <a:gd name="connsiteY79" fmla="*/ 218221 h 739526"/>
              <a:gd name="connsiteX80" fmla="*/ 6010567 w 7948307"/>
              <a:gd name="connsiteY80" fmla="*/ 723270 h 739526"/>
              <a:gd name="connsiteX81" fmla="*/ 6129772 w 7948307"/>
              <a:gd name="connsiteY81" fmla="*/ 723270 h 739526"/>
              <a:gd name="connsiteX82" fmla="*/ 6129772 w 7948307"/>
              <a:gd name="connsiteY82" fmla="*/ 397041 h 739526"/>
              <a:gd name="connsiteX83" fmla="*/ 6229822 w 7948307"/>
              <a:gd name="connsiteY83" fmla="*/ 278838 h 739526"/>
              <a:gd name="connsiteX84" fmla="*/ 6315677 w 7948307"/>
              <a:gd name="connsiteY84" fmla="*/ 377891 h 739526"/>
              <a:gd name="connsiteX85" fmla="*/ 6315677 w 7948307"/>
              <a:gd name="connsiteY85" fmla="*/ 723270 h 739526"/>
              <a:gd name="connsiteX86" fmla="*/ 6434883 w 7948307"/>
              <a:gd name="connsiteY86" fmla="*/ 723270 h 739526"/>
              <a:gd name="connsiteX87" fmla="*/ 6434883 w 7948307"/>
              <a:gd name="connsiteY87" fmla="*/ 376789 h 739526"/>
              <a:gd name="connsiteX88" fmla="*/ 6275299 w 7948307"/>
              <a:gd name="connsiteY88" fmla="*/ 208164 h 739526"/>
              <a:gd name="connsiteX89" fmla="*/ 6705679 w 7948307"/>
              <a:gd name="connsiteY89" fmla="*/ 208164 h 739526"/>
              <a:gd name="connsiteX90" fmla="*/ 6512746 w 7948307"/>
              <a:gd name="connsiteY90" fmla="*/ 353645 h 739526"/>
              <a:gd name="connsiteX91" fmla="*/ 6634983 w 7948307"/>
              <a:gd name="connsiteY91" fmla="*/ 499125 h 739526"/>
              <a:gd name="connsiteX92" fmla="*/ 6735996 w 7948307"/>
              <a:gd name="connsiteY92" fmla="*/ 524336 h 739526"/>
              <a:gd name="connsiteX93" fmla="*/ 6813859 w 7948307"/>
              <a:gd name="connsiteY93" fmla="*/ 599143 h 739526"/>
              <a:gd name="connsiteX94" fmla="*/ 6713809 w 7948307"/>
              <a:gd name="connsiteY94" fmla="*/ 680012 h 739526"/>
              <a:gd name="connsiteX95" fmla="*/ 6598601 w 7948307"/>
              <a:gd name="connsiteY95" fmla="*/ 562911 h 739526"/>
              <a:gd name="connsiteX96" fmla="*/ 6491522 w 7948307"/>
              <a:gd name="connsiteY96" fmla="*/ 593219 h 739526"/>
              <a:gd name="connsiteX97" fmla="*/ 6700717 w 7948307"/>
              <a:gd name="connsiteY97" fmla="*/ 733603 h 739526"/>
              <a:gd name="connsiteX98" fmla="*/ 6910877 w 7948307"/>
              <a:gd name="connsiteY98" fmla="*/ 568973 h 739526"/>
              <a:gd name="connsiteX99" fmla="*/ 6776513 w 7948307"/>
              <a:gd name="connsiteY99" fmla="*/ 417430 h 739526"/>
              <a:gd name="connsiteX100" fmla="*/ 6679495 w 7948307"/>
              <a:gd name="connsiteY100" fmla="*/ 393183 h 739526"/>
              <a:gd name="connsiteX101" fmla="*/ 6609763 w 7948307"/>
              <a:gd name="connsiteY101" fmla="*/ 326505 h 739526"/>
              <a:gd name="connsiteX102" fmla="*/ 6695618 w 7948307"/>
              <a:gd name="connsiteY102" fmla="*/ 261893 h 739526"/>
              <a:gd name="connsiteX103" fmla="*/ 6798701 w 7948307"/>
              <a:gd name="connsiteY103" fmla="*/ 358880 h 739526"/>
              <a:gd name="connsiteX104" fmla="*/ 6899714 w 7948307"/>
              <a:gd name="connsiteY104" fmla="*/ 328571 h 739526"/>
              <a:gd name="connsiteX105" fmla="*/ 6705679 w 7948307"/>
              <a:gd name="connsiteY105" fmla="*/ 208440 h 739526"/>
              <a:gd name="connsiteX106" fmla="*/ 7206755 w 7948307"/>
              <a:gd name="connsiteY106" fmla="*/ 678083 h 739526"/>
              <a:gd name="connsiteX107" fmla="*/ 7085482 w 7948307"/>
              <a:gd name="connsiteY107" fmla="*/ 471021 h 739526"/>
              <a:gd name="connsiteX108" fmla="*/ 7206755 w 7948307"/>
              <a:gd name="connsiteY108" fmla="*/ 263959 h 739526"/>
              <a:gd name="connsiteX109" fmla="*/ 7328027 w 7948307"/>
              <a:gd name="connsiteY109" fmla="*/ 471021 h 739526"/>
              <a:gd name="connsiteX110" fmla="*/ 7206755 w 7948307"/>
              <a:gd name="connsiteY110" fmla="*/ 678083 h 739526"/>
              <a:gd name="connsiteX111" fmla="*/ 7206755 w 7948307"/>
              <a:gd name="connsiteY111" fmla="*/ 208440 h 739526"/>
              <a:gd name="connsiteX112" fmla="*/ 6960213 w 7948307"/>
              <a:gd name="connsiteY112" fmla="*/ 471021 h 739526"/>
              <a:gd name="connsiteX113" fmla="*/ 7206755 w 7948307"/>
              <a:gd name="connsiteY113" fmla="*/ 733603 h 739526"/>
              <a:gd name="connsiteX114" fmla="*/ 7453296 w 7948307"/>
              <a:gd name="connsiteY114" fmla="*/ 471021 h 739526"/>
              <a:gd name="connsiteX115" fmla="*/ 7206755 w 7948307"/>
              <a:gd name="connsiteY115" fmla="*/ 208440 h 739526"/>
              <a:gd name="connsiteX116" fmla="*/ 7788724 w 7948307"/>
              <a:gd name="connsiteY116" fmla="*/ 208440 h 739526"/>
              <a:gd name="connsiteX117" fmla="*/ 7649261 w 7948307"/>
              <a:gd name="connsiteY117" fmla="*/ 282144 h 739526"/>
              <a:gd name="connsiteX118" fmla="*/ 7643197 w 7948307"/>
              <a:gd name="connsiteY118" fmla="*/ 282144 h 739526"/>
              <a:gd name="connsiteX119" fmla="*/ 7643197 w 7948307"/>
              <a:gd name="connsiteY119" fmla="*/ 218496 h 739526"/>
              <a:gd name="connsiteX120" fmla="*/ 7523992 w 7948307"/>
              <a:gd name="connsiteY120" fmla="*/ 218496 h 739526"/>
              <a:gd name="connsiteX121" fmla="*/ 7523992 w 7948307"/>
              <a:gd name="connsiteY121" fmla="*/ 723546 h 739526"/>
              <a:gd name="connsiteX122" fmla="*/ 7643197 w 7948307"/>
              <a:gd name="connsiteY122" fmla="*/ 723546 h 739526"/>
              <a:gd name="connsiteX123" fmla="*/ 7643197 w 7948307"/>
              <a:gd name="connsiteY123" fmla="*/ 397316 h 739526"/>
              <a:gd name="connsiteX124" fmla="*/ 7743247 w 7948307"/>
              <a:gd name="connsiteY124" fmla="*/ 279113 h 739526"/>
              <a:gd name="connsiteX125" fmla="*/ 7829102 w 7948307"/>
              <a:gd name="connsiteY125" fmla="*/ 378167 h 739526"/>
              <a:gd name="connsiteX126" fmla="*/ 7829102 w 7948307"/>
              <a:gd name="connsiteY126" fmla="*/ 723546 h 739526"/>
              <a:gd name="connsiteX127" fmla="*/ 7948308 w 7948307"/>
              <a:gd name="connsiteY127" fmla="*/ 723546 h 739526"/>
              <a:gd name="connsiteX128" fmla="*/ 7948308 w 7948307"/>
              <a:gd name="connsiteY128" fmla="*/ 377065 h 739526"/>
              <a:gd name="connsiteX129" fmla="*/ 7788724 w 7948307"/>
              <a:gd name="connsiteY129" fmla="*/ 208440 h 739526"/>
              <a:gd name="connsiteX130" fmla="*/ 468828 w 7948307"/>
              <a:gd name="connsiteY130" fmla="*/ 16532 h 739526"/>
              <a:gd name="connsiteX131" fmla="*/ 343559 w 7948307"/>
              <a:gd name="connsiteY131" fmla="*/ 16532 h 739526"/>
              <a:gd name="connsiteX132" fmla="*/ 343559 w 7948307"/>
              <a:gd name="connsiteY132" fmla="*/ 538664 h 739526"/>
              <a:gd name="connsiteX133" fmla="*/ 234414 w 7948307"/>
              <a:gd name="connsiteY133" fmla="*/ 673950 h 739526"/>
              <a:gd name="connsiteX134" fmla="*/ 125269 w 7948307"/>
              <a:gd name="connsiteY134" fmla="*/ 528469 h 739526"/>
              <a:gd name="connsiteX135" fmla="*/ 125269 w 7948307"/>
              <a:gd name="connsiteY135" fmla="*/ 431482 h 739526"/>
              <a:gd name="connsiteX136" fmla="*/ 0 w 7948307"/>
              <a:gd name="connsiteY136" fmla="*/ 462755 h 739526"/>
              <a:gd name="connsiteX137" fmla="*/ 0 w 7948307"/>
              <a:gd name="connsiteY137" fmla="*/ 506151 h 739526"/>
              <a:gd name="connsiteX138" fmla="*/ 234414 w 7948307"/>
              <a:gd name="connsiteY138" fmla="*/ 739527 h 739526"/>
              <a:gd name="connsiteX139" fmla="*/ 468828 w 7948307"/>
              <a:gd name="connsiteY139" fmla="*/ 506151 h 739526"/>
              <a:gd name="connsiteX140" fmla="*/ 468828 w 7948307"/>
              <a:gd name="connsiteY140" fmla="*/ 16256 h 739526"/>
              <a:gd name="connsiteX141" fmla="*/ 1222509 w 7948307"/>
              <a:gd name="connsiteY141" fmla="*/ 16256 h 739526"/>
              <a:gd name="connsiteX142" fmla="*/ 1103304 w 7948307"/>
              <a:gd name="connsiteY142" fmla="*/ 16256 h 739526"/>
              <a:gd name="connsiteX143" fmla="*/ 1103304 w 7948307"/>
              <a:gd name="connsiteY143" fmla="*/ 723270 h 739526"/>
              <a:gd name="connsiteX144" fmla="*/ 1222509 w 7948307"/>
              <a:gd name="connsiteY144" fmla="*/ 723270 h 739526"/>
              <a:gd name="connsiteX145" fmla="*/ 1222509 w 7948307"/>
              <a:gd name="connsiteY145" fmla="*/ 397041 h 739526"/>
              <a:gd name="connsiteX146" fmla="*/ 1322559 w 7948307"/>
              <a:gd name="connsiteY146" fmla="*/ 278838 h 739526"/>
              <a:gd name="connsiteX147" fmla="*/ 1408415 w 7948307"/>
              <a:gd name="connsiteY147" fmla="*/ 377891 h 739526"/>
              <a:gd name="connsiteX148" fmla="*/ 1408415 w 7948307"/>
              <a:gd name="connsiteY148" fmla="*/ 723270 h 739526"/>
              <a:gd name="connsiteX149" fmla="*/ 1527620 w 7948307"/>
              <a:gd name="connsiteY149" fmla="*/ 723270 h 739526"/>
              <a:gd name="connsiteX150" fmla="*/ 1527620 w 7948307"/>
              <a:gd name="connsiteY150" fmla="*/ 376789 h 739526"/>
              <a:gd name="connsiteX151" fmla="*/ 1368036 w 7948307"/>
              <a:gd name="connsiteY151" fmla="*/ 208164 h 739526"/>
              <a:gd name="connsiteX152" fmla="*/ 1228573 w 7948307"/>
              <a:gd name="connsiteY152" fmla="*/ 281869 h 739526"/>
              <a:gd name="connsiteX153" fmla="*/ 1222509 w 7948307"/>
              <a:gd name="connsiteY153" fmla="*/ 281869 h 739526"/>
              <a:gd name="connsiteX154" fmla="*/ 1222509 w 7948307"/>
              <a:gd name="connsiteY154" fmla="*/ 16256 h 739526"/>
              <a:gd name="connsiteX155" fmla="*/ 4855722 w 7948307"/>
              <a:gd name="connsiteY155" fmla="*/ 16256 h 739526"/>
              <a:gd name="connsiteX156" fmla="*/ 4730453 w 7948307"/>
              <a:gd name="connsiteY156" fmla="*/ 16256 h 739526"/>
              <a:gd name="connsiteX157" fmla="*/ 4730453 w 7948307"/>
              <a:gd name="connsiteY157" fmla="*/ 538389 h 739526"/>
              <a:gd name="connsiteX158" fmla="*/ 4621308 w 7948307"/>
              <a:gd name="connsiteY158" fmla="*/ 673675 h 739526"/>
              <a:gd name="connsiteX159" fmla="*/ 4512163 w 7948307"/>
              <a:gd name="connsiteY159" fmla="*/ 528194 h 739526"/>
              <a:gd name="connsiteX160" fmla="*/ 4512163 w 7948307"/>
              <a:gd name="connsiteY160" fmla="*/ 431207 h 739526"/>
              <a:gd name="connsiteX161" fmla="*/ 4386894 w 7948307"/>
              <a:gd name="connsiteY161" fmla="*/ 462480 h 739526"/>
              <a:gd name="connsiteX162" fmla="*/ 4386894 w 7948307"/>
              <a:gd name="connsiteY162" fmla="*/ 505876 h 739526"/>
              <a:gd name="connsiteX163" fmla="*/ 4621308 w 7948307"/>
              <a:gd name="connsiteY163" fmla="*/ 739251 h 739526"/>
              <a:gd name="connsiteX164" fmla="*/ 4855722 w 7948307"/>
              <a:gd name="connsiteY164" fmla="*/ 505876 h 739526"/>
              <a:gd name="connsiteX165" fmla="*/ 4855722 w 7948307"/>
              <a:gd name="connsiteY165" fmla="*/ 15981 h 739526"/>
              <a:gd name="connsiteX166" fmla="*/ 5609403 w 7948307"/>
              <a:gd name="connsiteY166" fmla="*/ 15981 h 739526"/>
              <a:gd name="connsiteX167" fmla="*/ 5490198 w 7948307"/>
              <a:gd name="connsiteY167" fmla="*/ 15981 h 739526"/>
              <a:gd name="connsiteX168" fmla="*/ 5490198 w 7948307"/>
              <a:gd name="connsiteY168" fmla="*/ 722995 h 739526"/>
              <a:gd name="connsiteX169" fmla="*/ 5609403 w 7948307"/>
              <a:gd name="connsiteY169" fmla="*/ 722995 h 739526"/>
              <a:gd name="connsiteX170" fmla="*/ 5609403 w 7948307"/>
              <a:gd name="connsiteY170" fmla="*/ 396765 h 739526"/>
              <a:gd name="connsiteX171" fmla="*/ 5709453 w 7948307"/>
              <a:gd name="connsiteY171" fmla="*/ 278562 h 739526"/>
              <a:gd name="connsiteX172" fmla="*/ 5795308 w 7948307"/>
              <a:gd name="connsiteY172" fmla="*/ 377616 h 739526"/>
              <a:gd name="connsiteX173" fmla="*/ 5795308 w 7948307"/>
              <a:gd name="connsiteY173" fmla="*/ 722995 h 739526"/>
              <a:gd name="connsiteX174" fmla="*/ 5914514 w 7948307"/>
              <a:gd name="connsiteY174" fmla="*/ 722995 h 739526"/>
              <a:gd name="connsiteX175" fmla="*/ 5914514 w 7948307"/>
              <a:gd name="connsiteY175" fmla="*/ 376514 h 739526"/>
              <a:gd name="connsiteX176" fmla="*/ 5754930 w 7948307"/>
              <a:gd name="connsiteY176" fmla="*/ 207889 h 739526"/>
              <a:gd name="connsiteX177" fmla="*/ 5615466 w 7948307"/>
              <a:gd name="connsiteY177" fmla="*/ 281593 h 739526"/>
              <a:gd name="connsiteX178" fmla="*/ 5609403 w 7948307"/>
              <a:gd name="connsiteY178" fmla="*/ 281593 h 739526"/>
              <a:gd name="connsiteX179" fmla="*/ 5609403 w 7948307"/>
              <a:gd name="connsiteY179" fmla="*/ 15981 h 739526"/>
              <a:gd name="connsiteX180" fmla="*/ 3954447 w 7948307"/>
              <a:gd name="connsiteY180" fmla="*/ 665409 h 739526"/>
              <a:gd name="connsiteX181" fmla="*/ 3797895 w 7948307"/>
              <a:gd name="connsiteY181" fmla="*/ 502845 h 739526"/>
              <a:gd name="connsiteX182" fmla="*/ 3859496 w 7948307"/>
              <a:gd name="connsiteY182" fmla="*/ 374585 h 739526"/>
              <a:gd name="connsiteX183" fmla="*/ 4087847 w 7948307"/>
              <a:gd name="connsiteY183" fmla="*/ 624079 h 739526"/>
              <a:gd name="connsiteX184" fmla="*/ 3954447 w 7948307"/>
              <a:gd name="connsiteY184" fmla="*/ 665546 h 739526"/>
              <a:gd name="connsiteX185" fmla="*/ 4176734 w 7948307"/>
              <a:gd name="connsiteY185" fmla="*/ 541282 h 739526"/>
              <a:gd name="connsiteX186" fmla="*/ 3978702 w 7948307"/>
              <a:gd name="connsiteY186" fmla="*/ 323061 h 739526"/>
              <a:gd name="connsiteX187" fmla="*/ 4076684 w 7948307"/>
              <a:gd name="connsiteY187" fmla="*/ 303911 h 739526"/>
              <a:gd name="connsiteX188" fmla="*/ 4208981 w 7948307"/>
              <a:gd name="connsiteY188" fmla="*/ 433273 h 739526"/>
              <a:gd name="connsiteX189" fmla="*/ 4176596 w 7948307"/>
              <a:gd name="connsiteY189" fmla="*/ 541282 h 739526"/>
              <a:gd name="connsiteX190" fmla="*/ 3951278 w 7948307"/>
              <a:gd name="connsiteY190" fmla="*/ 293854 h 739526"/>
              <a:gd name="connsiteX191" fmla="*/ 3907868 w 7948307"/>
              <a:gd name="connsiteY191" fmla="*/ 245361 h 739526"/>
              <a:gd name="connsiteX192" fmla="*/ 3858394 w 7948307"/>
              <a:gd name="connsiteY192" fmla="*/ 145343 h 739526"/>
              <a:gd name="connsiteX193" fmla="*/ 3954309 w 7948307"/>
              <a:gd name="connsiteY193" fmla="*/ 53453 h 739526"/>
              <a:gd name="connsiteX194" fmla="*/ 4049260 w 7948307"/>
              <a:gd name="connsiteY194" fmla="*/ 150440 h 739526"/>
              <a:gd name="connsiteX195" fmla="*/ 3951278 w 7948307"/>
              <a:gd name="connsiteY195" fmla="*/ 293854 h 739526"/>
              <a:gd name="connsiteX196" fmla="*/ 3957341 w 7948307"/>
              <a:gd name="connsiteY196" fmla="*/ 0 h 739526"/>
              <a:gd name="connsiteX197" fmla="*/ 3749249 w 7948307"/>
              <a:gd name="connsiteY197" fmla="*/ 174687 h 739526"/>
              <a:gd name="connsiteX198" fmla="*/ 3830143 w 7948307"/>
              <a:gd name="connsiteY198" fmla="*/ 343312 h 739526"/>
              <a:gd name="connsiteX199" fmla="*/ 3831108 w 7948307"/>
              <a:gd name="connsiteY199" fmla="*/ 345379 h 739526"/>
              <a:gd name="connsiteX200" fmla="*/ 3686683 w 7948307"/>
              <a:gd name="connsiteY200" fmla="*/ 548445 h 739526"/>
              <a:gd name="connsiteX201" fmla="*/ 3889815 w 7948307"/>
              <a:gd name="connsiteY201" fmla="*/ 739389 h 739526"/>
              <a:gd name="connsiteX202" fmla="*/ 4118165 w 7948307"/>
              <a:gd name="connsiteY202" fmla="*/ 657556 h 739526"/>
              <a:gd name="connsiteX203" fmla="*/ 4178801 w 7948307"/>
              <a:gd name="connsiteY203" fmla="*/ 723270 h 739526"/>
              <a:gd name="connsiteX204" fmla="*/ 4337420 w 7948307"/>
              <a:gd name="connsiteY204" fmla="*/ 723270 h 739526"/>
              <a:gd name="connsiteX205" fmla="*/ 4337420 w 7948307"/>
              <a:gd name="connsiteY205" fmla="*/ 718173 h 739526"/>
              <a:gd name="connsiteX206" fmla="*/ 4208155 w 7948307"/>
              <a:gd name="connsiteY206" fmla="*/ 575723 h 739526"/>
              <a:gd name="connsiteX207" fmla="*/ 4294011 w 7948307"/>
              <a:gd name="connsiteY207" fmla="*/ 378718 h 739526"/>
              <a:gd name="connsiteX208" fmla="*/ 4161713 w 7948307"/>
              <a:gd name="connsiteY208" fmla="*/ 250458 h 739526"/>
              <a:gd name="connsiteX209" fmla="*/ 4040440 w 7948307"/>
              <a:gd name="connsiteY209" fmla="*/ 274705 h 739526"/>
              <a:gd name="connsiteX210" fmla="*/ 4038373 w 7948307"/>
              <a:gd name="connsiteY210" fmla="*/ 270710 h 739526"/>
              <a:gd name="connsiteX211" fmla="*/ 4147518 w 7948307"/>
              <a:gd name="connsiteY211" fmla="*/ 137352 h 739526"/>
              <a:gd name="connsiteX212" fmla="*/ 3957617 w 7948307"/>
              <a:gd name="connsiteY212" fmla="*/ 0 h 739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7948307" h="739526">
                <a:moveTo>
                  <a:pt x="786066" y="677532"/>
                </a:moveTo>
                <a:cubicBezTo>
                  <a:pt x="708204" y="677532"/>
                  <a:pt x="664794" y="603827"/>
                  <a:pt x="664794" y="470470"/>
                </a:cubicBezTo>
                <a:cubicBezTo>
                  <a:pt x="664794" y="337113"/>
                  <a:pt x="708204" y="263408"/>
                  <a:pt x="786066" y="263408"/>
                </a:cubicBezTo>
                <a:cubicBezTo>
                  <a:pt x="863929" y="263408"/>
                  <a:pt x="907339" y="336148"/>
                  <a:pt x="907339" y="470470"/>
                </a:cubicBezTo>
                <a:cubicBezTo>
                  <a:pt x="907339" y="604792"/>
                  <a:pt x="863929" y="677532"/>
                  <a:pt x="786066" y="677532"/>
                </a:cubicBezTo>
                <a:moveTo>
                  <a:pt x="786066" y="207889"/>
                </a:moveTo>
                <a:cubicBezTo>
                  <a:pt x="627447" y="207889"/>
                  <a:pt x="539525" y="326091"/>
                  <a:pt x="539525" y="470470"/>
                </a:cubicBezTo>
                <a:cubicBezTo>
                  <a:pt x="539525" y="614849"/>
                  <a:pt x="627447" y="733052"/>
                  <a:pt x="786066" y="733052"/>
                </a:cubicBezTo>
                <a:cubicBezTo>
                  <a:pt x="944685" y="733052"/>
                  <a:pt x="1032607" y="614849"/>
                  <a:pt x="1032607" y="470470"/>
                </a:cubicBezTo>
                <a:cubicBezTo>
                  <a:pt x="1032607" y="326091"/>
                  <a:pt x="944685" y="207889"/>
                  <a:pt x="786066" y="207889"/>
                </a:cubicBezTo>
                <a:moveTo>
                  <a:pt x="1888405" y="207889"/>
                </a:moveTo>
                <a:cubicBezTo>
                  <a:pt x="1813575" y="207889"/>
                  <a:pt x="1772232" y="240263"/>
                  <a:pt x="1748942" y="281593"/>
                </a:cubicBezTo>
                <a:lnTo>
                  <a:pt x="1742878" y="281593"/>
                </a:lnTo>
                <a:lnTo>
                  <a:pt x="1742878" y="217945"/>
                </a:lnTo>
                <a:lnTo>
                  <a:pt x="1623673" y="217945"/>
                </a:lnTo>
                <a:lnTo>
                  <a:pt x="1623673" y="722995"/>
                </a:lnTo>
                <a:lnTo>
                  <a:pt x="1742878" y="722995"/>
                </a:lnTo>
                <a:lnTo>
                  <a:pt x="1742878" y="396765"/>
                </a:lnTo>
                <a:cubicBezTo>
                  <a:pt x="1742878" y="322096"/>
                  <a:pt x="1781327" y="278562"/>
                  <a:pt x="1842928" y="278562"/>
                </a:cubicBezTo>
                <a:cubicBezTo>
                  <a:pt x="1904529" y="278562"/>
                  <a:pt x="1928783" y="317963"/>
                  <a:pt x="1928783" y="377616"/>
                </a:cubicBezTo>
                <a:lnTo>
                  <a:pt x="1928783" y="722995"/>
                </a:lnTo>
                <a:lnTo>
                  <a:pt x="2047989" y="722995"/>
                </a:lnTo>
                <a:lnTo>
                  <a:pt x="2047989" y="376514"/>
                </a:lnTo>
                <a:cubicBezTo>
                  <a:pt x="2047989" y="272501"/>
                  <a:pt x="1993416" y="207889"/>
                  <a:pt x="1888405" y="207889"/>
                </a:cubicBezTo>
                <a:moveTo>
                  <a:pt x="2318785" y="207889"/>
                </a:moveTo>
                <a:cubicBezTo>
                  <a:pt x="2208675" y="207889"/>
                  <a:pt x="2125851" y="254316"/>
                  <a:pt x="2125851" y="353369"/>
                </a:cubicBezTo>
                <a:cubicBezTo>
                  <a:pt x="2125851" y="437269"/>
                  <a:pt x="2183456" y="482731"/>
                  <a:pt x="2248089" y="498850"/>
                </a:cubicBezTo>
                <a:lnTo>
                  <a:pt x="2349103" y="524061"/>
                </a:lnTo>
                <a:cubicBezTo>
                  <a:pt x="2402711" y="537149"/>
                  <a:pt x="2426965" y="556436"/>
                  <a:pt x="2426965" y="598868"/>
                </a:cubicBezTo>
                <a:cubicBezTo>
                  <a:pt x="2426965" y="650392"/>
                  <a:pt x="2390584" y="679736"/>
                  <a:pt x="2326916" y="679736"/>
                </a:cubicBezTo>
                <a:cubicBezTo>
                  <a:pt x="2258148" y="679736"/>
                  <a:pt x="2222869" y="646397"/>
                  <a:pt x="2211707" y="562635"/>
                </a:cubicBezTo>
                <a:lnTo>
                  <a:pt x="2104629" y="592944"/>
                </a:lnTo>
                <a:cubicBezTo>
                  <a:pt x="2110692" y="679874"/>
                  <a:pt x="2191587" y="733327"/>
                  <a:pt x="2313824" y="733327"/>
                </a:cubicBezTo>
                <a:cubicBezTo>
                  <a:pt x="2450255" y="733327"/>
                  <a:pt x="2523983" y="669679"/>
                  <a:pt x="2523983" y="568697"/>
                </a:cubicBezTo>
                <a:cubicBezTo>
                  <a:pt x="2523983" y="473776"/>
                  <a:pt x="2458248" y="434375"/>
                  <a:pt x="2389619" y="417155"/>
                </a:cubicBezTo>
                <a:lnTo>
                  <a:pt x="2292601" y="392908"/>
                </a:lnTo>
                <a:cubicBezTo>
                  <a:pt x="2244092" y="380784"/>
                  <a:pt x="2222869" y="358604"/>
                  <a:pt x="2222869" y="326229"/>
                </a:cubicBezTo>
                <a:cubicBezTo>
                  <a:pt x="2222869" y="285864"/>
                  <a:pt x="2257184" y="261617"/>
                  <a:pt x="2308725" y="261617"/>
                </a:cubicBezTo>
                <a:cubicBezTo>
                  <a:pt x="2369361" y="261617"/>
                  <a:pt x="2406707" y="294957"/>
                  <a:pt x="2411806" y="358604"/>
                </a:cubicBezTo>
                <a:lnTo>
                  <a:pt x="2512821" y="328296"/>
                </a:lnTo>
                <a:cubicBezTo>
                  <a:pt x="2500693" y="257622"/>
                  <a:pt x="2430962" y="208164"/>
                  <a:pt x="2318785" y="208164"/>
                </a:cubicBezTo>
                <a:moveTo>
                  <a:pt x="2819861" y="677807"/>
                </a:moveTo>
                <a:cubicBezTo>
                  <a:pt x="2741998" y="677807"/>
                  <a:pt x="2698588" y="604103"/>
                  <a:pt x="2698588" y="470746"/>
                </a:cubicBezTo>
                <a:cubicBezTo>
                  <a:pt x="2698588" y="337388"/>
                  <a:pt x="2741998" y="263684"/>
                  <a:pt x="2819861" y="263684"/>
                </a:cubicBezTo>
                <a:cubicBezTo>
                  <a:pt x="2897723" y="263684"/>
                  <a:pt x="2941133" y="336424"/>
                  <a:pt x="2941133" y="470746"/>
                </a:cubicBezTo>
                <a:cubicBezTo>
                  <a:pt x="2941133" y="605067"/>
                  <a:pt x="2897723" y="677807"/>
                  <a:pt x="2819861" y="677807"/>
                </a:cubicBezTo>
                <a:moveTo>
                  <a:pt x="2819861" y="208164"/>
                </a:moveTo>
                <a:cubicBezTo>
                  <a:pt x="2661242" y="208164"/>
                  <a:pt x="2573319" y="326367"/>
                  <a:pt x="2573319" y="470746"/>
                </a:cubicBezTo>
                <a:cubicBezTo>
                  <a:pt x="2573319" y="615124"/>
                  <a:pt x="2661242" y="733327"/>
                  <a:pt x="2819861" y="733327"/>
                </a:cubicBezTo>
                <a:cubicBezTo>
                  <a:pt x="2978480" y="733327"/>
                  <a:pt x="3066402" y="615124"/>
                  <a:pt x="3066402" y="470746"/>
                </a:cubicBezTo>
                <a:cubicBezTo>
                  <a:pt x="3066402" y="326367"/>
                  <a:pt x="2978480" y="208164"/>
                  <a:pt x="2819861" y="208164"/>
                </a:cubicBezTo>
                <a:moveTo>
                  <a:pt x="3401831" y="208164"/>
                </a:moveTo>
                <a:cubicBezTo>
                  <a:pt x="3327000" y="208164"/>
                  <a:pt x="3285657" y="240539"/>
                  <a:pt x="3262367" y="281869"/>
                </a:cubicBezTo>
                <a:lnTo>
                  <a:pt x="3256304" y="281869"/>
                </a:lnTo>
                <a:lnTo>
                  <a:pt x="3256304" y="218221"/>
                </a:lnTo>
                <a:lnTo>
                  <a:pt x="3137098" y="218221"/>
                </a:lnTo>
                <a:lnTo>
                  <a:pt x="3137098" y="723270"/>
                </a:lnTo>
                <a:lnTo>
                  <a:pt x="3256304" y="723270"/>
                </a:lnTo>
                <a:lnTo>
                  <a:pt x="3256304" y="397041"/>
                </a:lnTo>
                <a:cubicBezTo>
                  <a:pt x="3256304" y="322372"/>
                  <a:pt x="3294752" y="278838"/>
                  <a:pt x="3356353" y="278838"/>
                </a:cubicBezTo>
                <a:cubicBezTo>
                  <a:pt x="3417954" y="278838"/>
                  <a:pt x="3442209" y="318239"/>
                  <a:pt x="3442209" y="377891"/>
                </a:cubicBezTo>
                <a:lnTo>
                  <a:pt x="3442209" y="723270"/>
                </a:lnTo>
                <a:lnTo>
                  <a:pt x="3561414" y="723270"/>
                </a:lnTo>
                <a:lnTo>
                  <a:pt x="3561414" y="376789"/>
                </a:lnTo>
                <a:cubicBezTo>
                  <a:pt x="3561414" y="272776"/>
                  <a:pt x="3506842" y="208164"/>
                  <a:pt x="3401831" y="208164"/>
                </a:cubicBezTo>
                <a:moveTo>
                  <a:pt x="5172960" y="677807"/>
                </a:moveTo>
                <a:cubicBezTo>
                  <a:pt x="5095097" y="677807"/>
                  <a:pt x="5051688" y="604103"/>
                  <a:pt x="5051688" y="470746"/>
                </a:cubicBezTo>
                <a:cubicBezTo>
                  <a:pt x="5051688" y="337388"/>
                  <a:pt x="5095097" y="263684"/>
                  <a:pt x="5172960" y="263684"/>
                </a:cubicBezTo>
                <a:cubicBezTo>
                  <a:pt x="5250823" y="263684"/>
                  <a:pt x="5294232" y="336424"/>
                  <a:pt x="5294232" y="470746"/>
                </a:cubicBezTo>
                <a:cubicBezTo>
                  <a:pt x="5294232" y="605067"/>
                  <a:pt x="5250823" y="677807"/>
                  <a:pt x="5172960" y="677807"/>
                </a:cubicBezTo>
                <a:moveTo>
                  <a:pt x="5172960" y="208164"/>
                </a:moveTo>
                <a:cubicBezTo>
                  <a:pt x="5014341" y="208164"/>
                  <a:pt x="4926418" y="326367"/>
                  <a:pt x="4926418" y="470746"/>
                </a:cubicBezTo>
                <a:cubicBezTo>
                  <a:pt x="4926418" y="615124"/>
                  <a:pt x="5014341" y="733327"/>
                  <a:pt x="5172960" y="733327"/>
                </a:cubicBezTo>
                <a:cubicBezTo>
                  <a:pt x="5331579" y="733327"/>
                  <a:pt x="5419502" y="615124"/>
                  <a:pt x="5419502" y="470746"/>
                </a:cubicBezTo>
                <a:cubicBezTo>
                  <a:pt x="5419502" y="326367"/>
                  <a:pt x="5331579" y="208164"/>
                  <a:pt x="5172960" y="208164"/>
                </a:cubicBezTo>
                <a:moveTo>
                  <a:pt x="6275299" y="208164"/>
                </a:moveTo>
                <a:cubicBezTo>
                  <a:pt x="6200468" y="208164"/>
                  <a:pt x="6159126" y="240539"/>
                  <a:pt x="6135836" y="281869"/>
                </a:cubicBezTo>
                <a:lnTo>
                  <a:pt x="6129772" y="281869"/>
                </a:lnTo>
                <a:lnTo>
                  <a:pt x="6129772" y="218221"/>
                </a:lnTo>
                <a:lnTo>
                  <a:pt x="6010567" y="218221"/>
                </a:lnTo>
                <a:lnTo>
                  <a:pt x="6010567" y="723270"/>
                </a:lnTo>
                <a:lnTo>
                  <a:pt x="6129772" y="723270"/>
                </a:lnTo>
                <a:lnTo>
                  <a:pt x="6129772" y="397041"/>
                </a:lnTo>
                <a:cubicBezTo>
                  <a:pt x="6129772" y="322372"/>
                  <a:pt x="6168222" y="278838"/>
                  <a:pt x="6229822" y="278838"/>
                </a:cubicBezTo>
                <a:cubicBezTo>
                  <a:pt x="6291422" y="278838"/>
                  <a:pt x="6315677" y="318239"/>
                  <a:pt x="6315677" y="377891"/>
                </a:cubicBezTo>
                <a:lnTo>
                  <a:pt x="6315677" y="723270"/>
                </a:lnTo>
                <a:lnTo>
                  <a:pt x="6434883" y="723270"/>
                </a:lnTo>
                <a:lnTo>
                  <a:pt x="6434883" y="376789"/>
                </a:lnTo>
                <a:cubicBezTo>
                  <a:pt x="6434883" y="272776"/>
                  <a:pt x="6380310" y="208164"/>
                  <a:pt x="6275299" y="208164"/>
                </a:cubicBezTo>
                <a:moveTo>
                  <a:pt x="6705679" y="208164"/>
                </a:moveTo>
                <a:cubicBezTo>
                  <a:pt x="6595568" y="208164"/>
                  <a:pt x="6512746" y="254591"/>
                  <a:pt x="6512746" y="353645"/>
                </a:cubicBezTo>
                <a:cubicBezTo>
                  <a:pt x="6512746" y="437544"/>
                  <a:pt x="6570350" y="483007"/>
                  <a:pt x="6634983" y="499125"/>
                </a:cubicBezTo>
                <a:lnTo>
                  <a:pt x="6735996" y="524336"/>
                </a:lnTo>
                <a:cubicBezTo>
                  <a:pt x="6789605" y="537424"/>
                  <a:pt x="6813859" y="556711"/>
                  <a:pt x="6813859" y="599143"/>
                </a:cubicBezTo>
                <a:cubicBezTo>
                  <a:pt x="6813859" y="650668"/>
                  <a:pt x="6777477" y="680012"/>
                  <a:pt x="6713809" y="680012"/>
                </a:cubicBezTo>
                <a:cubicBezTo>
                  <a:pt x="6645042" y="680012"/>
                  <a:pt x="6609763" y="646672"/>
                  <a:pt x="6598601" y="562911"/>
                </a:cubicBezTo>
                <a:lnTo>
                  <a:pt x="6491522" y="593219"/>
                </a:lnTo>
                <a:cubicBezTo>
                  <a:pt x="6497586" y="680149"/>
                  <a:pt x="6578480" y="733603"/>
                  <a:pt x="6700717" y="733603"/>
                </a:cubicBezTo>
                <a:cubicBezTo>
                  <a:pt x="6837149" y="733603"/>
                  <a:pt x="6910877" y="669955"/>
                  <a:pt x="6910877" y="568973"/>
                </a:cubicBezTo>
                <a:cubicBezTo>
                  <a:pt x="6910877" y="474052"/>
                  <a:pt x="6845142" y="434651"/>
                  <a:pt x="6776513" y="417430"/>
                </a:cubicBezTo>
                <a:lnTo>
                  <a:pt x="6679495" y="393183"/>
                </a:lnTo>
                <a:cubicBezTo>
                  <a:pt x="6630986" y="381060"/>
                  <a:pt x="6609763" y="358880"/>
                  <a:pt x="6609763" y="326505"/>
                </a:cubicBezTo>
                <a:cubicBezTo>
                  <a:pt x="6609763" y="286140"/>
                  <a:pt x="6644078" y="261893"/>
                  <a:pt x="6695618" y="261893"/>
                </a:cubicBezTo>
                <a:cubicBezTo>
                  <a:pt x="6756255" y="261893"/>
                  <a:pt x="6793601" y="295232"/>
                  <a:pt x="6798701" y="358880"/>
                </a:cubicBezTo>
                <a:lnTo>
                  <a:pt x="6899714" y="328571"/>
                </a:lnTo>
                <a:cubicBezTo>
                  <a:pt x="6887587" y="257897"/>
                  <a:pt x="6817855" y="208440"/>
                  <a:pt x="6705679" y="208440"/>
                </a:cubicBezTo>
                <a:moveTo>
                  <a:pt x="7206755" y="678083"/>
                </a:moveTo>
                <a:cubicBezTo>
                  <a:pt x="7128892" y="678083"/>
                  <a:pt x="7085482" y="604378"/>
                  <a:pt x="7085482" y="471021"/>
                </a:cubicBezTo>
                <a:cubicBezTo>
                  <a:pt x="7085482" y="337664"/>
                  <a:pt x="7128892" y="263959"/>
                  <a:pt x="7206755" y="263959"/>
                </a:cubicBezTo>
                <a:cubicBezTo>
                  <a:pt x="7284617" y="263959"/>
                  <a:pt x="7328027" y="336700"/>
                  <a:pt x="7328027" y="471021"/>
                </a:cubicBezTo>
                <a:cubicBezTo>
                  <a:pt x="7328027" y="605343"/>
                  <a:pt x="7284617" y="678083"/>
                  <a:pt x="7206755" y="678083"/>
                </a:cubicBezTo>
                <a:moveTo>
                  <a:pt x="7206755" y="208440"/>
                </a:moveTo>
                <a:cubicBezTo>
                  <a:pt x="7048136" y="208440"/>
                  <a:pt x="6960213" y="326643"/>
                  <a:pt x="6960213" y="471021"/>
                </a:cubicBezTo>
                <a:cubicBezTo>
                  <a:pt x="6960213" y="615400"/>
                  <a:pt x="7048136" y="733603"/>
                  <a:pt x="7206755" y="733603"/>
                </a:cubicBezTo>
                <a:cubicBezTo>
                  <a:pt x="7365374" y="733603"/>
                  <a:pt x="7453296" y="615400"/>
                  <a:pt x="7453296" y="471021"/>
                </a:cubicBezTo>
                <a:cubicBezTo>
                  <a:pt x="7453296" y="326643"/>
                  <a:pt x="7365374" y="208440"/>
                  <a:pt x="7206755" y="208440"/>
                </a:cubicBezTo>
                <a:moveTo>
                  <a:pt x="7788724" y="208440"/>
                </a:moveTo>
                <a:cubicBezTo>
                  <a:pt x="7713894" y="208440"/>
                  <a:pt x="7672551" y="240815"/>
                  <a:pt x="7649261" y="282144"/>
                </a:cubicBezTo>
                <a:lnTo>
                  <a:pt x="7643197" y="282144"/>
                </a:lnTo>
                <a:lnTo>
                  <a:pt x="7643197" y="218496"/>
                </a:lnTo>
                <a:lnTo>
                  <a:pt x="7523992" y="218496"/>
                </a:lnTo>
                <a:lnTo>
                  <a:pt x="7523992" y="723546"/>
                </a:lnTo>
                <a:lnTo>
                  <a:pt x="7643197" y="723546"/>
                </a:lnTo>
                <a:lnTo>
                  <a:pt x="7643197" y="397316"/>
                </a:lnTo>
                <a:cubicBezTo>
                  <a:pt x="7643197" y="322647"/>
                  <a:pt x="7681646" y="279113"/>
                  <a:pt x="7743247" y="279113"/>
                </a:cubicBezTo>
                <a:cubicBezTo>
                  <a:pt x="7804848" y="279113"/>
                  <a:pt x="7829102" y="318514"/>
                  <a:pt x="7829102" y="378167"/>
                </a:cubicBezTo>
                <a:lnTo>
                  <a:pt x="7829102" y="723546"/>
                </a:lnTo>
                <a:lnTo>
                  <a:pt x="7948308" y="723546"/>
                </a:lnTo>
                <a:lnTo>
                  <a:pt x="7948308" y="377065"/>
                </a:lnTo>
                <a:cubicBezTo>
                  <a:pt x="7948308" y="273052"/>
                  <a:pt x="7893735" y="208440"/>
                  <a:pt x="7788724" y="208440"/>
                </a:cubicBezTo>
                <a:moveTo>
                  <a:pt x="468828" y="16532"/>
                </a:moveTo>
                <a:lnTo>
                  <a:pt x="343559" y="16532"/>
                </a:lnTo>
                <a:lnTo>
                  <a:pt x="343559" y="538664"/>
                </a:lnTo>
                <a:cubicBezTo>
                  <a:pt x="343559" y="623528"/>
                  <a:pt x="311174" y="673950"/>
                  <a:pt x="234414" y="673950"/>
                </a:cubicBezTo>
                <a:cubicBezTo>
                  <a:pt x="157654" y="673950"/>
                  <a:pt x="125269" y="620359"/>
                  <a:pt x="125269" y="528469"/>
                </a:cubicBezTo>
                <a:lnTo>
                  <a:pt x="125269" y="431482"/>
                </a:lnTo>
                <a:lnTo>
                  <a:pt x="0" y="462755"/>
                </a:lnTo>
                <a:lnTo>
                  <a:pt x="0" y="506151"/>
                </a:lnTo>
                <a:cubicBezTo>
                  <a:pt x="0" y="638406"/>
                  <a:pt x="65735" y="739527"/>
                  <a:pt x="234414" y="739527"/>
                </a:cubicBezTo>
                <a:cubicBezTo>
                  <a:pt x="403093" y="739527"/>
                  <a:pt x="468828" y="638544"/>
                  <a:pt x="468828" y="506151"/>
                </a:cubicBezTo>
                <a:lnTo>
                  <a:pt x="468828" y="16256"/>
                </a:lnTo>
                <a:moveTo>
                  <a:pt x="1222509" y="16256"/>
                </a:moveTo>
                <a:lnTo>
                  <a:pt x="1103304" y="16256"/>
                </a:lnTo>
                <a:lnTo>
                  <a:pt x="1103304" y="723270"/>
                </a:lnTo>
                <a:lnTo>
                  <a:pt x="1222509" y="723270"/>
                </a:lnTo>
                <a:lnTo>
                  <a:pt x="1222509" y="397041"/>
                </a:lnTo>
                <a:cubicBezTo>
                  <a:pt x="1222509" y="322372"/>
                  <a:pt x="1260958" y="278838"/>
                  <a:pt x="1322559" y="278838"/>
                </a:cubicBezTo>
                <a:cubicBezTo>
                  <a:pt x="1384160" y="278838"/>
                  <a:pt x="1408415" y="318239"/>
                  <a:pt x="1408415" y="377891"/>
                </a:cubicBezTo>
                <a:lnTo>
                  <a:pt x="1408415" y="723270"/>
                </a:lnTo>
                <a:lnTo>
                  <a:pt x="1527620" y="723270"/>
                </a:lnTo>
                <a:lnTo>
                  <a:pt x="1527620" y="376789"/>
                </a:lnTo>
                <a:cubicBezTo>
                  <a:pt x="1527620" y="272776"/>
                  <a:pt x="1473047" y="208164"/>
                  <a:pt x="1368036" y="208164"/>
                </a:cubicBezTo>
                <a:cubicBezTo>
                  <a:pt x="1293206" y="208164"/>
                  <a:pt x="1251863" y="240539"/>
                  <a:pt x="1228573" y="281869"/>
                </a:cubicBezTo>
                <a:lnTo>
                  <a:pt x="1222509" y="281869"/>
                </a:lnTo>
                <a:lnTo>
                  <a:pt x="1222509" y="16256"/>
                </a:lnTo>
                <a:moveTo>
                  <a:pt x="4855722" y="16256"/>
                </a:moveTo>
                <a:lnTo>
                  <a:pt x="4730453" y="16256"/>
                </a:lnTo>
                <a:lnTo>
                  <a:pt x="4730453" y="538389"/>
                </a:lnTo>
                <a:cubicBezTo>
                  <a:pt x="4730453" y="623252"/>
                  <a:pt x="4698068" y="673675"/>
                  <a:pt x="4621308" y="673675"/>
                </a:cubicBezTo>
                <a:cubicBezTo>
                  <a:pt x="4544548" y="673675"/>
                  <a:pt x="4512163" y="620084"/>
                  <a:pt x="4512163" y="528194"/>
                </a:cubicBezTo>
                <a:lnTo>
                  <a:pt x="4512163" y="431207"/>
                </a:lnTo>
                <a:lnTo>
                  <a:pt x="4386894" y="462480"/>
                </a:lnTo>
                <a:lnTo>
                  <a:pt x="4386894" y="505876"/>
                </a:lnTo>
                <a:cubicBezTo>
                  <a:pt x="4386894" y="638131"/>
                  <a:pt x="4452629" y="739251"/>
                  <a:pt x="4621308" y="739251"/>
                </a:cubicBezTo>
                <a:cubicBezTo>
                  <a:pt x="4789987" y="739251"/>
                  <a:pt x="4855722" y="638269"/>
                  <a:pt x="4855722" y="505876"/>
                </a:cubicBezTo>
                <a:lnTo>
                  <a:pt x="4855722" y="15981"/>
                </a:lnTo>
                <a:moveTo>
                  <a:pt x="5609403" y="15981"/>
                </a:moveTo>
                <a:lnTo>
                  <a:pt x="5490198" y="15981"/>
                </a:lnTo>
                <a:lnTo>
                  <a:pt x="5490198" y="722995"/>
                </a:lnTo>
                <a:lnTo>
                  <a:pt x="5609403" y="722995"/>
                </a:lnTo>
                <a:lnTo>
                  <a:pt x="5609403" y="396765"/>
                </a:lnTo>
                <a:cubicBezTo>
                  <a:pt x="5609403" y="322096"/>
                  <a:pt x="5647852" y="278562"/>
                  <a:pt x="5709453" y="278562"/>
                </a:cubicBezTo>
                <a:cubicBezTo>
                  <a:pt x="5771054" y="278562"/>
                  <a:pt x="5795308" y="317963"/>
                  <a:pt x="5795308" y="377616"/>
                </a:cubicBezTo>
                <a:lnTo>
                  <a:pt x="5795308" y="722995"/>
                </a:lnTo>
                <a:lnTo>
                  <a:pt x="5914514" y="722995"/>
                </a:lnTo>
                <a:lnTo>
                  <a:pt x="5914514" y="376514"/>
                </a:lnTo>
                <a:cubicBezTo>
                  <a:pt x="5914514" y="272501"/>
                  <a:pt x="5859941" y="207889"/>
                  <a:pt x="5754930" y="207889"/>
                </a:cubicBezTo>
                <a:cubicBezTo>
                  <a:pt x="5680099" y="207889"/>
                  <a:pt x="5638756" y="240263"/>
                  <a:pt x="5615466" y="281593"/>
                </a:cubicBezTo>
                <a:lnTo>
                  <a:pt x="5609403" y="281593"/>
                </a:lnTo>
                <a:lnTo>
                  <a:pt x="5609403" y="15981"/>
                </a:lnTo>
                <a:moveTo>
                  <a:pt x="3954447" y="665409"/>
                </a:moveTo>
                <a:cubicBezTo>
                  <a:pt x="3857429" y="665409"/>
                  <a:pt x="3797895" y="586607"/>
                  <a:pt x="3797895" y="502845"/>
                </a:cubicBezTo>
                <a:cubicBezTo>
                  <a:pt x="3797895" y="450356"/>
                  <a:pt x="3821185" y="401863"/>
                  <a:pt x="3859496" y="374585"/>
                </a:cubicBezTo>
                <a:lnTo>
                  <a:pt x="4087847" y="624079"/>
                </a:lnTo>
                <a:cubicBezTo>
                  <a:pt x="4045401" y="649290"/>
                  <a:pt x="3997857" y="665546"/>
                  <a:pt x="3954447" y="665546"/>
                </a:cubicBezTo>
                <a:moveTo>
                  <a:pt x="4176734" y="541282"/>
                </a:moveTo>
                <a:lnTo>
                  <a:pt x="3978702" y="323061"/>
                </a:lnTo>
                <a:cubicBezTo>
                  <a:pt x="4014119" y="308871"/>
                  <a:pt x="4048433" y="303911"/>
                  <a:pt x="4076684" y="303911"/>
                </a:cubicBezTo>
                <a:cubicBezTo>
                  <a:pt x="4158543" y="303911"/>
                  <a:pt x="4208981" y="351440"/>
                  <a:pt x="4208981" y="433273"/>
                </a:cubicBezTo>
                <a:cubicBezTo>
                  <a:pt x="4208981" y="469643"/>
                  <a:pt x="4198922" y="506978"/>
                  <a:pt x="4176596" y="541282"/>
                </a:cubicBezTo>
                <a:moveTo>
                  <a:pt x="3951278" y="293854"/>
                </a:moveTo>
                <a:lnTo>
                  <a:pt x="3907868" y="245361"/>
                </a:lnTo>
                <a:cubicBezTo>
                  <a:pt x="3869419" y="202929"/>
                  <a:pt x="3858394" y="176616"/>
                  <a:pt x="3858394" y="145343"/>
                </a:cubicBezTo>
                <a:cubicBezTo>
                  <a:pt x="3858394" y="86792"/>
                  <a:pt x="3895740" y="53453"/>
                  <a:pt x="3954309" y="53453"/>
                </a:cubicBezTo>
                <a:cubicBezTo>
                  <a:pt x="4012879" y="53453"/>
                  <a:pt x="4049260" y="87757"/>
                  <a:pt x="4049260" y="150440"/>
                </a:cubicBezTo>
                <a:cubicBezTo>
                  <a:pt x="4049260" y="208026"/>
                  <a:pt x="4021009" y="262582"/>
                  <a:pt x="3951278" y="293854"/>
                </a:cubicBezTo>
                <a:moveTo>
                  <a:pt x="3957341" y="0"/>
                </a:moveTo>
                <a:cubicBezTo>
                  <a:pt x="3817878" y="0"/>
                  <a:pt x="3749249" y="77838"/>
                  <a:pt x="3749249" y="174687"/>
                </a:cubicBezTo>
                <a:cubicBezTo>
                  <a:pt x="3749249" y="227176"/>
                  <a:pt x="3771436" y="279802"/>
                  <a:pt x="3830143" y="343312"/>
                </a:cubicBezTo>
                <a:lnTo>
                  <a:pt x="3831108" y="345379"/>
                </a:lnTo>
                <a:cubicBezTo>
                  <a:pt x="3732160" y="392908"/>
                  <a:pt x="3686683" y="469643"/>
                  <a:pt x="3686683" y="548445"/>
                </a:cubicBezTo>
                <a:cubicBezTo>
                  <a:pt x="3686683" y="652459"/>
                  <a:pt x="3766475" y="739389"/>
                  <a:pt x="3889815" y="739389"/>
                </a:cubicBezTo>
                <a:cubicBezTo>
                  <a:pt x="3960511" y="739389"/>
                  <a:pt x="4043334" y="710045"/>
                  <a:pt x="4118165" y="657556"/>
                </a:cubicBezTo>
                <a:lnTo>
                  <a:pt x="4178801" y="723270"/>
                </a:lnTo>
                <a:lnTo>
                  <a:pt x="4337420" y="723270"/>
                </a:lnTo>
                <a:lnTo>
                  <a:pt x="4337420" y="718173"/>
                </a:lnTo>
                <a:lnTo>
                  <a:pt x="4208155" y="575723"/>
                </a:lnTo>
                <a:cubicBezTo>
                  <a:pt x="4262728" y="511111"/>
                  <a:pt x="4294011" y="440437"/>
                  <a:pt x="4294011" y="378718"/>
                </a:cubicBezTo>
                <a:cubicBezTo>
                  <a:pt x="4294011" y="301982"/>
                  <a:pt x="4242469" y="250458"/>
                  <a:pt x="4161713" y="250458"/>
                </a:cubicBezTo>
                <a:cubicBezTo>
                  <a:pt x="4119268" y="250458"/>
                  <a:pt x="4071723" y="262582"/>
                  <a:pt x="4040440" y="274705"/>
                </a:cubicBezTo>
                <a:lnTo>
                  <a:pt x="4038373" y="270710"/>
                </a:lnTo>
                <a:cubicBezTo>
                  <a:pt x="4115133" y="229242"/>
                  <a:pt x="4147518" y="190943"/>
                  <a:pt x="4147518" y="137352"/>
                </a:cubicBezTo>
                <a:cubicBezTo>
                  <a:pt x="4147518" y="60617"/>
                  <a:pt x="4078752" y="0"/>
                  <a:pt x="3957617" y="0"/>
                </a:cubicBezTo>
              </a:path>
            </a:pathLst>
          </a:custGeom>
          <a:solidFill>
            <a:schemeClr val="bg1"/>
          </a:solidFill>
          <a:ln w="13780" cap="flat">
            <a:noFill/>
            <a:prstDash val="solid"/>
            <a:miter/>
          </a:ln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5850" y="266955"/>
            <a:ext cx="5734050" cy="2585323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</p:spTree>
    <p:extLst>
      <p:ext uri="{BB962C8B-B14F-4D97-AF65-F5344CB8AC3E}">
        <p14:creationId xmlns:p14="http://schemas.microsoft.com/office/powerpoint/2010/main" val="23459409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25800" y="0"/>
            <a:ext cx="8966200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2793541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37889-B558-B868-1094-BA62A7B3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2793541" cy="19348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3984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2BB7518-D6BA-C538-D249-365B42C98C3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0AE2DF2-849C-72E8-013B-74CCFF6C4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2002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23012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21385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B94300B-C77D-1F3F-A75F-F3E8D1A2D0B2}"/>
              </a:ext>
            </a:extLst>
          </p:cNvPr>
          <p:cNvSpPr txBox="1">
            <a:spLocks/>
          </p:cNvSpPr>
          <p:nvPr/>
        </p:nvSpPr>
        <p:spPr>
          <a:xfrm>
            <a:off x="114300" y="6096000"/>
            <a:ext cx="1009650" cy="660400"/>
          </a:xfrm>
          <a:custGeom>
            <a:avLst/>
            <a:gdLst>
              <a:gd name="connsiteX0" fmla="*/ 0 w 1009650"/>
              <a:gd name="connsiteY0" fmla="*/ 0 h 660400"/>
              <a:gd name="connsiteX1" fmla="*/ 1009650 w 1009650"/>
              <a:gd name="connsiteY1" fmla="*/ 0 h 660400"/>
              <a:gd name="connsiteX2" fmla="*/ 1009650 w 1009650"/>
              <a:gd name="connsiteY2" fmla="*/ 660400 h 660400"/>
              <a:gd name="connsiteX3" fmla="*/ 0 w 1009650"/>
              <a:gd name="connsiteY3" fmla="*/ 660400 h 660400"/>
              <a:gd name="connsiteX4" fmla="*/ 0 w 1009650"/>
              <a:gd name="connsiteY4" fmla="*/ 0 h 660400"/>
              <a:gd name="connsiteX5" fmla="*/ 334111 w 1009650"/>
              <a:gd name="connsiteY5" fmla="*/ 317500 h 660400"/>
              <a:gd name="connsiteX6" fmla="*/ 290920 w 1009650"/>
              <a:gd name="connsiteY6" fmla="*/ 353764 h 660400"/>
              <a:gd name="connsiteX7" fmla="*/ 307700 w 1009650"/>
              <a:gd name="connsiteY7" fmla="*/ 388779 h 660400"/>
              <a:gd name="connsiteX8" fmla="*/ 307903 w 1009650"/>
              <a:gd name="connsiteY8" fmla="*/ 389200 h 660400"/>
              <a:gd name="connsiteX9" fmla="*/ 277918 w 1009650"/>
              <a:gd name="connsiteY9" fmla="*/ 431331 h 660400"/>
              <a:gd name="connsiteX10" fmla="*/ 320063 w 1009650"/>
              <a:gd name="connsiteY10" fmla="*/ 470950 h 660400"/>
              <a:gd name="connsiteX11" fmla="*/ 367452 w 1009650"/>
              <a:gd name="connsiteY11" fmla="*/ 453972 h 660400"/>
              <a:gd name="connsiteX12" fmla="*/ 380033 w 1009650"/>
              <a:gd name="connsiteY12" fmla="*/ 467595 h 660400"/>
              <a:gd name="connsiteX13" fmla="*/ 412953 w 1009650"/>
              <a:gd name="connsiteY13" fmla="*/ 467595 h 660400"/>
              <a:gd name="connsiteX14" fmla="*/ 412953 w 1009650"/>
              <a:gd name="connsiteY14" fmla="*/ 466549 h 660400"/>
              <a:gd name="connsiteX15" fmla="*/ 386106 w 1009650"/>
              <a:gd name="connsiteY15" fmla="*/ 436995 h 660400"/>
              <a:gd name="connsiteX16" fmla="*/ 386120 w 1009650"/>
              <a:gd name="connsiteY16" fmla="*/ 436995 h 660400"/>
              <a:gd name="connsiteX17" fmla="*/ 403945 w 1009650"/>
              <a:gd name="connsiteY17" fmla="*/ 396113 h 660400"/>
              <a:gd name="connsiteX18" fmla="*/ 376474 w 1009650"/>
              <a:gd name="connsiteY18" fmla="*/ 369492 h 660400"/>
              <a:gd name="connsiteX19" fmla="*/ 351312 w 1009650"/>
              <a:gd name="connsiteY19" fmla="*/ 374518 h 660400"/>
              <a:gd name="connsiteX20" fmla="*/ 350891 w 1009650"/>
              <a:gd name="connsiteY20" fmla="*/ 373675 h 660400"/>
              <a:gd name="connsiteX21" fmla="*/ 373539 w 1009650"/>
              <a:gd name="connsiteY21" fmla="*/ 346009 h 660400"/>
              <a:gd name="connsiteX22" fmla="*/ 334111 w 1009650"/>
              <a:gd name="connsiteY22" fmla="*/ 317500 h 660400"/>
              <a:gd name="connsiteX23" fmla="*/ 494539 w 1009650"/>
              <a:gd name="connsiteY23" fmla="*/ 320869 h 660400"/>
              <a:gd name="connsiteX24" fmla="*/ 494539 w 1009650"/>
              <a:gd name="connsiteY24" fmla="*/ 429253 h 660400"/>
              <a:gd name="connsiteX25" fmla="*/ 471890 w 1009650"/>
              <a:gd name="connsiteY25" fmla="*/ 457341 h 660400"/>
              <a:gd name="connsiteX26" fmla="*/ 449242 w 1009650"/>
              <a:gd name="connsiteY26" fmla="*/ 427148 h 660400"/>
              <a:gd name="connsiteX27" fmla="*/ 449242 w 1009650"/>
              <a:gd name="connsiteY27" fmla="*/ 407019 h 660400"/>
              <a:gd name="connsiteX28" fmla="*/ 423238 w 1009650"/>
              <a:gd name="connsiteY28" fmla="*/ 413511 h 660400"/>
              <a:gd name="connsiteX29" fmla="*/ 423238 w 1009650"/>
              <a:gd name="connsiteY29" fmla="*/ 422530 h 660400"/>
              <a:gd name="connsiteX30" fmla="*/ 471890 w 1009650"/>
              <a:gd name="connsiteY30" fmla="*/ 470950 h 660400"/>
              <a:gd name="connsiteX31" fmla="*/ 471890 w 1009650"/>
              <a:gd name="connsiteY31" fmla="*/ 470963 h 660400"/>
              <a:gd name="connsiteX32" fmla="*/ 520543 w 1009650"/>
              <a:gd name="connsiteY32" fmla="*/ 422543 h 660400"/>
              <a:gd name="connsiteX33" fmla="*/ 520543 w 1009650"/>
              <a:gd name="connsiteY33" fmla="*/ 320869 h 660400"/>
              <a:gd name="connsiteX34" fmla="*/ 494539 w 1009650"/>
              <a:gd name="connsiteY34" fmla="*/ 320869 h 660400"/>
              <a:gd name="connsiteX35" fmla="*/ 231154 w 1009650"/>
              <a:gd name="connsiteY35" fmla="*/ 320869 h 660400"/>
              <a:gd name="connsiteX36" fmla="*/ 231154 w 1009650"/>
              <a:gd name="connsiteY36" fmla="*/ 429253 h 660400"/>
              <a:gd name="connsiteX37" fmla="*/ 208506 w 1009650"/>
              <a:gd name="connsiteY37" fmla="*/ 457341 h 660400"/>
              <a:gd name="connsiteX38" fmla="*/ 185857 w 1009650"/>
              <a:gd name="connsiteY38" fmla="*/ 427148 h 660400"/>
              <a:gd name="connsiteX39" fmla="*/ 185857 w 1009650"/>
              <a:gd name="connsiteY39" fmla="*/ 407019 h 660400"/>
              <a:gd name="connsiteX40" fmla="*/ 159853 w 1009650"/>
              <a:gd name="connsiteY40" fmla="*/ 413511 h 660400"/>
              <a:gd name="connsiteX41" fmla="*/ 159853 w 1009650"/>
              <a:gd name="connsiteY41" fmla="*/ 422530 h 660400"/>
              <a:gd name="connsiteX42" fmla="*/ 208506 w 1009650"/>
              <a:gd name="connsiteY42" fmla="*/ 470950 h 660400"/>
              <a:gd name="connsiteX43" fmla="*/ 257158 w 1009650"/>
              <a:gd name="connsiteY43" fmla="*/ 422530 h 660400"/>
              <a:gd name="connsiteX44" fmla="*/ 257158 w 1009650"/>
              <a:gd name="connsiteY44" fmla="*/ 320869 h 660400"/>
              <a:gd name="connsiteX45" fmla="*/ 231154 w 1009650"/>
              <a:gd name="connsiteY45" fmla="*/ 320869 h 66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09650" h="660400">
                <a:moveTo>
                  <a:pt x="0" y="0"/>
                </a:moveTo>
                <a:lnTo>
                  <a:pt x="1009650" y="0"/>
                </a:lnTo>
                <a:lnTo>
                  <a:pt x="1009650" y="660400"/>
                </a:lnTo>
                <a:lnTo>
                  <a:pt x="0" y="660400"/>
                </a:lnTo>
                <a:lnTo>
                  <a:pt x="0" y="0"/>
                </a:lnTo>
                <a:close/>
                <a:moveTo>
                  <a:pt x="334111" y="317500"/>
                </a:moveTo>
                <a:cubicBezTo>
                  <a:pt x="305173" y="317500"/>
                  <a:pt x="290920" y="333636"/>
                  <a:pt x="290920" y="353764"/>
                </a:cubicBezTo>
                <a:cubicBezTo>
                  <a:pt x="290920" y="364670"/>
                  <a:pt x="295540" y="375563"/>
                  <a:pt x="307700" y="388779"/>
                </a:cubicBezTo>
                <a:lnTo>
                  <a:pt x="307903" y="389200"/>
                </a:lnTo>
                <a:cubicBezTo>
                  <a:pt x="287347" y="399047"/>
                  <a:pt x="277918" y="414978"/>
                  <a:pt x="277918" y="431331"/>
                </a:cubicBezTo>
                <a:cubicBezTo>
                  <a:pt x="277918" y="452926"/>
                  <a:pt x="294480" y="470950"/>
                  <a:pt x="320063" y="470950"/>
                </a:cubicBezTo>
                <a:cubicBezTo>
                  <a:pt x="334736" y="470950"/>
                  <a:pt x="351937" y="464865"/>
                  <a:pt x="367452" y="453972"/>
                </a:cubicBezTo>
                <a:lnTo>
                  <a:pt x="380033" y="467595"/>
                </a:lnTo>
                <a:lnTo>
                  <a:pt x="412953" y="467595"/>
                </a:lnTo>
                <a:lnTo>
                  <a:pt x="412953" y="466549"/>
                </a:lnTo>
                <a:lnTo>
                  <a:pt x="386106" y="436995"/>
                </a:lnTo>
                <a:lnTo>
                  <a:pt x="386120" y="436995"/>
                </a:lnTo>
                <a:cubicBezTo>
                  <a:pt x="397437" y="423576"/>
                  <a:pt x="403945" y="408907"/>
                  <a:pt x="403945" y="396113"/>
                </a:cubicBezTo>
                <a:cubicBezTo>
                  <a:pt x="403945" y="380181"/>
                  <a:pt x="393253" y="369492"/>
                  <a:pt x="376474" y="369492"/>
                </a:cubicBezTo>
                <a:cubicBezTo>
                  <a:pt x="367670" y="369492"/>
                  <a:pt x="357806" y="372005"/>
                  <a:pt x="351312" y="374518"/>
                </a:cubicBezTo>
                <a:lnTo>
                  <a:pt x="350891" y="373675"/>
                </a:lnTo>
                <a:cubicBezTo>
                  <a:pt x="366827" y="365078"/>
                  <a:pt x="373539" y="357119"/>
                  <a:pt x="373539" y="346009"/>
                </a:cubicBezTo>
                <a:cubicBezTo>
                  <a:pt x="373539" y="330077"/>
                  <a:pt x="359273" y="317500"/>
                  <a:pt x="334111" y="317500"/>
                </a:cubicBezTo>
                <a:close/>
                <a:moveTo>
                  <a:pt x="494539" y="320869"/>
                </a:moveTo>
                <a:lnTo>
                  <a:pt x="494539" y="429253"/>
                </a:lnTo>
                <a:cubicBezTo>
                  <a:pt x="494539" y="446855"/>
                  <a:pt x="487827" y="457341"/>
                  <a:pt x="471890" y="457341"/>
                </a:cubicBezTo>
                <a:cubicBezTo>
                  <a:pt x="455954" y="457341"/>
                  <a:pt x="449242" y="446230"/>
                  <a:pt x="449242" y="427148"/>
                </a:cubicBezTo>
                <a:lnTo>
                  <a:pt x="449242" y="407019"/>
                </a:lnTo>
                <a:lnTo>
                  <a:pt x="423238" y="413511"/>
                </a:lnTo>
                <a:lnTo>
                  <a:pt x="423238" y="422530"/>
                </a:lnTo>
                <a:cubicBezTo>
                  <a:pt x="423238" y="449993"/>
                  <a:pt x="436865" y="470950"/>
                  <a:pt x="471890" y="470950"/>
                </a:cubicBezTo>
                <a:lnTo>
                  <a:pt x="471890" y="470963"/>
                </a:lnTo>
                <a:cubicBezTo>
                  <a:pt x="506916" y="470963"/>
                  <a:pt x="520543" y="450006"/>
                  <a:pt x="520543" y="422543"/>
                </a:cubicBezTo>
                <a:lnTo>
                  <a:pt x="520543" y="320869"/>
                </a:lnTo>
                <a:lnTo>
                  <a:pt x="494539" y="320869"/>
                </a:lnTo>
                <a:close/>
                <a:moveTo>
                  <a:pt x="231154" y="320869"/>
                </a:moveTo>
                <a:lnTo>
                  <a:pt x="231154" y="429253"/>
                </a:lnTo>
                <a:cubicBezTo>
                  <a:pt x="231154" y="446855"/>
                  <a:pt x="224443" y="457341"/>
                  <a:pt x="208506" y="457341"/>
                </a:cubicBezTo>
                <a:cubicBezTo>
                  <a:pt x="192569" y="457341"/>
                  <a:pt x="185857" y="446230"/>
                  <a:pt x="185857" y="427148"/>
                </a:cubicBezTo>
                <a:lnTo>
                  <a:pt x="185857" y="407019"/>
                </a:lnTo>
                <a:lnTo>
                  <a:pt x="159853" y="413511"/>
                </a:lnTo>
                <a:lnTo>
                  <a:pt x="159853" y="422530"/>
                </a:lnTo>
                <a:cubicBezTo>
                  <a:pt x="159853" y="449993"/>
                  <a:pt x="173480" y="470950"/>
                  <a:pt x="208506" y="470950"/>
                </a:cubicBezTo>
                <a:cubicBezTo>
                  <a:pt x="243531" y="470950"/>
                  <a:pt x="257158" y="449993"/>
                  <a:pt x="257158" y="422530"/>
                </a:cubicBezTo>
                <a:lnTo>
                  <a:pt x="257158" y="320869"/>
                </a:lnTo>
                <a:lnTo>
                  <a:pt x="231154" y="320869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2pPr>
            <a:lvl3pPr marL="546100" indent="-2603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4500" kern="1200">
                <a:solidFill>
                  <a:schemeClr val="tx2"/>
                </a:solidFill>
                <a:latin typeface="Johnson Display BETA Display" pitchFamily="2" charset="77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1758" y="4376738"/>
            <a:ext cx="5580856" cy="1893886"/>
          </a:xfrm>
        </p:spPr>
        <p:txBody>
          <a:bodyPr/>
          <a:lstStyle>
            <a:lvl4pPr>
              <a:defRPr sz="5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7139A87-57BC-3EA5-1A50-C7A9DA1DB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98" y="279525"/>
            <a:ext cx="5578817" cy="2733056"/>
          </a:xfrm>
        </p:spPr>
        <p:txBody>
          <a:bodyPr/>
          <a:lstStyle>
            <a:lvl1pPr>
              <a:lnSpc>
                <a:spcPct val="80000"/>
              </a:lnSpc>
              <a:defRPr sz="7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25711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6AE2399-BFCA-491C-607D-8EC33F29B0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2AEA74B-CBA6-2617-8389-0A8FBEB074F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846018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5" y="0"/>
            <a:ext cx="3010694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41FD64A-0587-F581-84E0-EA06B4D335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81307" y="0"/>
            <a:ext cx="3010694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27A145F5-DB46-62B4-C485-DD186AF7B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588C0CC-43FB-4401-B34D-842E1E15D0E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1098825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Content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5850" y="2338388"/>
            <a:ext cx="5734051" cy="393223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83801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6327D50-E20F-7EBC-9440-36E657CCB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8672513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482B98-7AE9-6F29-768C-189744E8C74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867251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303234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04313" y="2338386"/>
            <a:ext cx="2795588" cy="393223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4313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07C8FFB5-0C36-EA56-18AE-AE4E3A5B96B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65850" y="2338386"/>
            <a:ext cx="2800351" cy="393223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65850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48C95821-C865-9139-DE3E-F11442D83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867313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49BA43B-6BD5-72DE-5D4D-B0BAD4FEEA2B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867149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239741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4825" y="291038"/>
            <a:ext cx="3775076" cy="292206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5" y="2338387"/>
            <a:ext cx="4750422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65850" y="263526"/>
            <a:ext cx="1816099" cy="9017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7E2F9960-1383-47B5-D5A0-E3568E63310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5" y="3357564"/>
            <a:ext cx="3775076" cy="291306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157324B-BE85-4E3F-8A71-8D472DC14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0614" y="3334276"/>
            <a:ext cx="1811335" cy="9048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4750421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4750421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876062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50102" y="-1"/>
            <a:ext cx="5041900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3357563"/>
            <a:ext cx="6022552" cy="349995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0102" y="4376738"/>
            <a:ext cx="4754562" cy="1893887"/>
          </a:xfrm>
        </p:spPr>
        <p:txBody>
          <a:bodyPr/>
          <a:lstStyle>
            <a:lvl4pPr>
              <a:defRPr lang="en-GB" sz="4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59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Righ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3FA985-3B61-CED4-73DE-1DFA4E2DD7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338" y="4376738"/>
            <a:ext cx="4754562" cy="1893887"/>
          </a:xfrm>
        </p:spPr>
        <p:txBody>
          <a:bodyPr/>
          <a:lstStyle>
            <a:lvl4pPr>
              <a:defRPr lang="en-GB" sz="4000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585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7915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980" y="266955"/>
            <a:ext cx="5734050" cy="2585323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4443" y="4389438"/>
            <a:ext cx="2795587" cy="2220662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E083875-577D-C85F-0FB1-123AA06C12E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62381" y="0"/>
            <a:ext cx="5629619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Graphic 2">
            <a:extLst>
              <a:ext uri="{FF2B5EF4-FFF2-40B4-BE49-F238E27FC236}">
                <a16:creationId xmlns:a16="http://schemas.microsoft.com/office/drawing/2014/main" id="{2F7807F1-53C0-9778-02CC-E8554C5CE97D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0285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7563"/>
            <a:ext cx="4152900" cy="350043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52900" y="1"/>
            <a:ext cx="3912062" cy="685751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4313" y="4376738"/>
            <a:ext cx="2795587" cy="1893887"/>
          </a:xfrm>
        </p:spPr>
        <p:txBody>
          <a:bodyPr/>
          <a:lstStyle>
            <a:lvl4pPr>
              <a:defRPr sz="4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74C72C0-D5F1-8526-2BDA-0E6460C330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961" y="0"/>
            <a:ext cx="4114339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8318B1-25E6-EF2C-0244-43CD92F8B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696913"/>
            <a:ext cx="3770934" cy="1765868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27373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3FA985-3B61-CED4-73DE-1DFA4E2DD7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69031AD-BE5D-A3B7-1DEC-6584F4E4BF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5850" y="1306512"/>
            <a:ext cx="5736764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Key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02A894D-CD72-8370-90B3-68756CDFCB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825" y="4377028"/>
            <a:ext cx="4754562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1872128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4.07407E-6 L 0.03906 -4.07407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3.7037E-6 L -0.03437 -3.7037E-6 " pathEditMode="relative" rAng="0" ptsTypes="AA">
                                      <p:cBhvr>
                                        <p:cTn id="18" dur="1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3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0"/>
            <a:ext cx="6095999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8925" y="5394325"/>
            <a:ext cx="2795587" cy="87630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8DD8F62-9521-0227-75CF-0AE6364187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2338388"/>
            <a:ext cx="3778250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09A4C51-350E-EA65-5ABE-B10E6D298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751BFC5-7E94-8966-6D2A-5204BCB942D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308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0256C6C6-C2B0-619B-06B6-F0B7706CD3D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994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24825" y="285158"/>
            <a:ext cx="3775075" cy="394711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4825" y="4376738"/>
            <a:ext cx="377507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E887C0B-D804-38AD-7676-333BDBFC1A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4376738"/>
            <a:ext cx="3778250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07732" y="285158"/>
            <a:ext cx="3775075" cy="394711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07732" y="4376738"/>
            <a:ext cx="377507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E80529FD-0171-E552-588C-C152AED56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3775073" cy="454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A79EF84-4162-265E-6156-177364480E5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377507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B58D846E-E0EB-4B4E-2451-D64CE997DC63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4587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8FEEB1-636D-38E4-1003-F9C2F00099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4376738"/>
            <a:ext cx="2776485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45B8B1D-DD68-528A-E1DB-9EC7F9835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9649446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6CA54C-86BC-245E-8EEE-F0C02489F09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964944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0F98AA2-E2DC-E0E0-4C8F-760BB9A932E3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82FD8FC-F7B2-9C6C-B17A-E86A85F913E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4" name="Graphic 8">
            <a:extLst>
              <a:ext uri="{FF2B5EF4-FFF2-40B4-BE49-F238E27FC236}">
                <a16:creationId xmlns:a16="http://schemas.microsoft.com/office/drawing/2014/main" id="{39092A83-DA5A-9054-8843-290AA80FA357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1885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5068F87-7E7A-B5CF-3CBC-E18B6DD0D7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91479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4F951B9-FA91-8764-4AF1-2302D32F8D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1478" y="437673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F91C3EF-5967-CDBE-EACE-2531D873C36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00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DA47195B-21A0-9A63-E4DA-58F9F29E9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B220D96-C4B3-B7EB-A87A-9845F48C33C3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229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185804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604F17DC-3526-6523-F6A2-A614A5877E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54418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2B84ACE-520E-A875-5184-5F9EE6A46C07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495412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E351EF8-8286-87AC-38C6-7E9DC74AA5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2100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D881FA5-55EC-F926-2B2E-C6A382AF84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210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BC82E01-F7FE-2EAB-B8E7-5960A7A586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251075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AF3DAD82-5491-5A1C-AF05-DBECB12413C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10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56B49B1-E5CE-83C1-0D25-0898269814D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206875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0D879563-9332-8DE6-BC2B-72B716864FC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068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34E06054-2590-E998-043B-8F545070935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5850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B2E849EB-3C88-7D18-ED79-F55E7AB9250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6585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A8CC4AE-06AB-5A91-10DC-6C53FFB4A23A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129587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2ACD70-936B-5D18-96B7-1BF64FC6E2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87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96B65B4A-309C-6AFF-3233-21C6FE13D29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088562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56786C68-DCD8-DE01-5F52-6FF88150DD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88562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520EE9D3-6988-A53A-4B71-0F5506C1DB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54418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29A91CD-56E3-1B05-9890-3FE2231364A5}"/>
              </a:ext>
            </a:extLst>
          </p:cNvPr>
          <p:cNvSpPr>
            <a:spLocks noGrp="1"/>
          </p:cNvSpPr>
          <p:nvPr>
            <p:ph type="subTitle" idx="38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13211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802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341CCCF6-45D3-89EA-1171-FDB379444A5D}"/>
              </a:ext>
            </a:extLst>
          </p:cNvPr>
          <p:cNvSpPr/>
          <p:nvPr userDrawn="1"/>
        </p:nvSpPr>
        <p:spPr>
          <a:xfrm>
            <a:off x="291593" y="6373132"/>
            <a:ext cx="2032407" cy="189099"/>
          </a:xfrm>
          <a:custGeom>
            <a:avLst/>
            <a:gdLst>
              <a:gd name="connsiteX0" fmla="*/ 786066 w 7948307"/>
              <a:gd name="connsiteY0" fmla="*/ 677532 h 739526"/>
              <a:gd name="connsiteX1" fmla="*/ 664794 w 7948307"/>
              <a:gd name="connsiteY1" fmla="*/ 470470 h 739526"/>
              <a:gd name="connsiteX2" fmla="*/ 786066 w 7948307"/>
              <a:gd name="connsiteY2" fmla="*/ 263408 h 739526"/>
              <a:gd name="connsiteX3" fmla="*/ 907339 w 7948307"/>
              <a:gd name="connsiteY3" fmla="*/ 470470 h 739526"/>
              <a:gd name="connsiteX4" fmla="*/ 786066 w 7948307"/>
              <a:gd name="connsiteY4" fmla="*/ 677532 h 739526"/>
              <a:gd name="connsiteX5" fmla="*/ 786066 w 7948307"/>
              <a:gd name="connsiteY5" fmla="*/ 207889 h 739526"/>
              <a:gd name="connsiteX6" fmla="*/ 539525 w 7948307"/>
              <a:gd name="connsiteY6" fmla="*/ 470470 h 739526"/>
              <a:gd name="connsiteX7" fmla="*/ 786066 w 7948307"/>
              <a:gd name="connsiteY7" fmla="*/ 733052 h 739526"/>
              <a:gd name="connsiteX8" fmla="*/ 1032607 w 7948307"/>
              <a:gd name="connsiteY8" fmla="*/ 470470 h 739526"/>
              <a:gd name="connsiteX9" fmla="*/ 786066 w 7948307"/>
              <a:gd name="connsiteY9" fmla="*/ 207889 h 739526"/>
              <a:gd name="connsiteX10" fmla="*/ 1888405 w 7948307"/>
              <a:gd name="connsiteY10" fmla="*/ 207889 h 739526"/>
              <a:gd name="connsiteX11" fmla="*/ 1748942 w 7948307"/>
              <a:gd name="connsiteY11" fmla="*/ 281593 h 739526"/>
              <a:gd name="connsiteX12" fmla="*/ 1742878 w 7948307"/>
              <a:gd name="connsiteY12" fmla="*/ 281593 h 739526"/>
              <a:gd name="connsiteX13" fmla="*/ 1742878 w 7948307"/>
              <a:gd name="connsiteY13" fmla="*/ 217945 h 739526"/>
              <a:gd name="connsiteX14" fmla="*/ 1623673 w 7948307"/>
              <a:gd name="connsiteY14" fmla="*/ 217945 h 739526"/>
              <a:gd name="connsiteX15" fmla="*/ 1623673 w 7948307"/>
              <a:gd name="connsiteY15" fmla="*/ 722995 h 739526"/>
              <a:gd name="connsiteX16" fmla="*/ 1742878 w 7948307"/>
              <a:gd name="connsiteY16" fmla="*/ 722995 h 739526"/>
              <a:gd name="connsiteX17" fmla="*/ 1742878 w 7948307"/>
              <a:gd name="connsiteY17" fmla="*/ 396765 h 739526"/>
              <a:gd name="connsiteX18" fmla="*/ 1842928 w 7948307"/>
              <a:gd name="connsiteY18" fmla="*/ 278562 h 739526"/>
              <a:gd name="connsiteX19" fmla="*/ 1928783 w 7948307"/>
              <a:gd name="connsiteY19" fmla="*/ 377616 h 739526"/>
              <a:gd name="connsiteX20" fmla="*/ 1928783 w 7948307"/>
              <a:gd name="connsiteY20" fmla="*/ 722995 h 739526"/>
              <a:gd name="connsiteX21" fmla="*/ 2047989 w 7948307"/>
              <a:gd name="connsiteY21" fmla="*/ 722995 h 739526"/>
              <a:gd name="connsiteX22" fmla="*/ 2047989 w 7948307"/>
              <a:gd name="connsiteY22" fmla="*/ 376514 h 739526"/>
              <a:gd name="connsiteX23" fmla="*/ 1888405 w 7948307"/>
              <a:gd name="connsiteY23" fmla="*/ 207889 h 739526"/>
              <a:gd name="connsiteX24" fmla="*/ 2318785 w 7948307"/>
              <a:gd name="connsiteY24" fmla="*/ 207889 h 739526"/>
              <a:gd name="connsiteX25" fmla="*/ 2125851 w 7948307"/>
              <a:gd name="connsiteY25" fmla="*/ 353369 h 739526"/>
              <a:gd name="connsiteX26" fmla="*/ 2248089 w 7948307"/>
              <a:gd name="connsiteY26" fmla="*/ 498850 h 739526"/>
              <a:gd name="connsiteX27" fmla="*/ 2349103 w 7948307"/>
              <a:gd name="connsiteY27" fmla="*/ 524061 h 739526"/>
              <a:gd name="connsiteX28" fmla="*/ 2426965 w 7948307"/>
              <a:gd name="connsiteY28" fmla="*/ 598868 h 739526"/>
              <a:gd name="connsiteX29" fmla="*/ 2326916 w 7948307"/>
              <a:gd name="connsiteY29" fmla="*/ 679736 h 739526"/>
              <a:gd name="connsiteX30" fmla="*/ 2211707 w 7948307"/>
              <a:gd name="connsiteY30" fmla="*/ 562635 h 739526"/>
              <a:gd name="connsiteX31" fmla="*/ 2104629 w 7948307"/>
              <a:gd name="connsiteY31" fmla="*/ 592944 h 739526"/>
              <a:gd name="connsiteX32" fmla="*/ 2313824 w 7948307"/>
              <a:gd name="connsiteY32" fmla="*/ 733327 h 739526"/>
              <a:gd name="connsiteX33" fmla="*/ 2523983 w 7948307"/>
              <a:gd name="connsiteY33" fmla="*/ 568697 h 739526"/>
              <a:gd name="connsiteX34" fmla="*/ 2389619 w 7948307"/>
              <a:gd name="connsiteY34" fmla="*/ 417155 h 739526"/>
              <a:gd name="connsiteX35" fmla="*/ 2292601 w 7948307"/>
              <a:gd name="connsiteY35" fmla="*/ 392908 h 739526"/>
              <a:gd name="connsiteX36" fmla="*/ 2222869 w 7948307"/>
              <a:gd name="connsiteY36" fmla="*/ 326229 h 739526"/>
              <a:gd name="connsiteX37" fmla="*/ 2308725 w 7948307"/>
              <a:gd name="connsiteY37" fmla="*/ 261617 h 739526"/>
              <a:gd name="connsiteX38" fmla="*/ 2411806 w 7948307"/>
              <a:gd name="connsiteY38" fmla="*/ 358604 h 739526"/>
              <a:gd name="connsiteX39" fmla="*/ 2512821 w 7948307"/>
              <a:gd name="connsiteY39" fmla="*/ 328296 h 739526"/>
              <a:gd name="connsiteX40" fmla="*/ 2318785 w 7948307"/>
              <a:gd name="connsiteY40" fmla="*/ 208164 h 739526"/>
              <a:gd name="connsiteX41" fmla="*/ 2819861 w 7948307"/>
              <a:gd name="connsiteY41" fmla="*/ 677807 h 739526"/>
              <a:gd name="connsiteX42" fmla="*/ 2698588 w 7948307"/>
              <a:gd name="connsiteY42" fmla="*/ 470746 h 739526"/>
              <a:gd name="connsiteX43" fmla="*/ 2819861 w 7948307"/>
              <a:gd name="connsiteY43" fmla="*/ 263684 h 739526"/>
              <a:gd name="connsiteX44" fmla="*/ 2941133 w 7948307"/>
              <a:gd name="connsiteY44" fmla="*/ 470746 h 739526"/>
              <a:gd name="connsiteX45" fmla="*/ 2819861 w 7948307"/>
              <a:gd name="connsiteY45" fmla="*/ 677807 h 739526"/>
              <a:gd name="connsiteX46" fmla="*/ 2819861 w 7948307"/>
              <a:gd name="connsiteY46" fmla="*/ 208164 h 739526"/>
              <a:gd name="connsiteX47" fmla="*/ 2573319 w 7948307"/>
              <a:gd name="connsiteY47" fmla="*/ 470746 h 739526"/>
              <a:gd name="connsiteX48" fmla="*/ 2819861 w 7948307"/>
              <a:gd name="connsiteY48" fmla="*/ 733327 h 739526"/>
              <a:gd name="connsiteX49" fmla="*/ 3066402 w 7948307"/>
              <a:gd name="connsiteY49" fmla="*/ 470746 h 739526"/>
              <a:gd name="connsiteX50" fmla="*/ 2819861 w 7948307"/>
              <a:gd name="connsiteY50" fmla="*/ 208164 h 739526"/>
              <a:gd name="connsiteX51" fmla="*/ 3401831 w 7948307"/>
              <a:gd name="connsiteY51" fmla="*/ 208164 h 739526"/>
              <a:gd name="connsiteX52" fmla="*/ 3262367 w 7948307"/>
              <a:gd name="connsiteY52" fmla="*/ 281869 h 739526"/>
              <a:gd name="connsiteX53" fmla="*/ 3256304 w 7948307"/>
              <a:gd name="connsiteY53" fmla="*/ 281869 h 739526"/>
              <a:gd name="connsiteX54" fmla="*/ 3256304 w 7948307"/>
              <a:gd name="connsiteY54" fmla="*/ 218221 h 739526"/>
              <a:gd name="connsiteX55" fmla="*/ 3137098 w 7948307"/>
              <a:gd name="connsiteY55" fmla="*/ 218221 h 739526"/>
              <a:gd name="connsiteX56" fmla="*/ 3137098 w 7948307"/>
              <a:gd name="connsiteY56" fmla="*/ 723270 h 739526"/>
              <a:gd name="connsiteX57" fmla="*/ 3256304 w 7948307"/>
              <a:gd name="connsiteY57" fmla="*/ 723270 h 739526"/>
              <a:gd name="connsiteX58" fmla="*/ 3256304 w 7948307"/>
              <a:gd name="connsiteY58" fmla="*/ 397041 h 739526"/>
              <a:gd name="connsiteX59" fmla="*/ 3356353 w 7948307"/>
              <a:gd name="connsiteY59" fmla="*/ 278838 h 739526"/>
              <a:gd name="connsiteX60" fmla="*/ 3442209 w 7948307"/>
              <a:gd name="connsiteY60" fmla="*/ 377891 h 739526"/>
              <a:gd name="connsiteX61" fmla="*/ 3442209 w 7948307"/>
              <a:gd name="connsiteY61" fmla="*/ 723270 h 739526"/>
              <a:gd name="connsiteX62" fmla="*/ 3561414 w 7948307"/>
              <a:gd name="connsiteY62" fmla="*/ 723270 h 739526"/>
              <a:gd name="connsiteX63" fmla="*/ 3561414 w 7948307"/>
              <a:gd name="connsiteY63" fmla="*/ 376789 h 739526"/>
              <a:gd name="connsiteX64" fmla="*/ 3401831 w 7948307"/>
              <a:gd name="connsiteY64" fmla="*/ 208164 h 739526"/>
              <a:gd name="connsiteX65" fmla="*/ 5172960 w 7948307"/>
              <a:gd name="connsiteY65" fmla="*/ 677807 h 739526"/>
              <a:gd name="connsiteX66" fmla="*/ 5051688 w 7948307"/>
              <a:gd name="connsiteY66" fmla="*/ 470746 h 739526"/>
              <a:gd name="connsiteX67" fmla="*/ 5172960 w 7948307"/>
              <a:gd name="connsiteY67" fmla="*/ 263684 h 739526"/>
              <a:gd name="connsiteX68" fmla="*/ 5294232 w 7948307"/>
              <a:gd name="connsiteY68" fmla="*/ 470746 h 739526"/>
              <a:gd name="connsiteX69" fmla="*/ 5172960 w 7948307"/>
              <a:gd name="connsiteY69" fmla="*/ 677807 h 739526"/>
              <a:gd name="connsiteX70" fmla="*/ 5172960 w 7948307"/>
              <a:gd name="connsiteY70" fmla="*/ 208164 h 739526"/>
              <a:gd name="connsiteX71" fmla="*/ 4926418 w 7948307"/>
              <a:gd name="connsiteY71" fmla="*/ 470746 h 739526"/>
              <a:gd name="connsiteX72" fmla="*/ 5172960 w 7948307"/>
              <a:gd name="connsiteY72" fmla="*/ 733327 h 739526"/>
              <a:gd name="connsiteX73" fmla="*/ 5419502 w 7948307"/>
              <a:gd name="connsiteY73" fmla="*/ 470746 h 739526"/>
              <a:gd name="connsiteX74" fmla="*/ 5172960 w 7948307"/>
              <a:gd name="connsiteY74" fmla="*/ 208164 h 739526"/>
              <a:gd name="connsiteX75" fmla="*/ 6275299 w 7948307"/>
              <a:gd name="connsiteY75" fmla="*/ 208164 h 739526"/>
              <a:gd name="connsiteX76" fmla="*/ 6135836 w 7948307"/>
              <a:gd name="connsiteY76" fmla="*/ 281869 h 739526"/>
              <a:gd name="connsiteX77" fmla="*/ 6129772 w 7948307"/>
              <a:gd name="connsiteY77" fmla="*/ 281869 h 739526"/>
              <a:gd name="connsiteX78" fmla="*/ 6129772 w 7948307"/>
              <a:gd name="connsiteY78" fmla="*/ 218221 h 739526"/>
              <a:gd name="connsiteX79" fmla="*/ 6010567 w 7948307"/>
              <a:gd name="connsiteY79" fmla="*/ 218221 h 739526"/>
              <a:gd name="connsiteX80" fmla="*/ 6010567 w 7948307"/>
              <a:gd name="connsiteY80" fmla="*/ 723270 h 739526"/>
              <a:gd name="connsiteX81" fmla="*/ 6129772 w 7948307"/>
              <a:gd name="connsiteY81" fmla="*/ 723270 h 739526"/>
              <a:gd name="connsiteX82" fmla="*/ 6129772 w 7948307"/>
              <a:gd name="connsiteY82" fmla="*/ 397041 h 739526"/>
              <a:gd name="connsiteX83" fmla="*/ 6229822 w 7948307"/>
              <a:gd name="connsiteY83" fmla="*/ 278838 h 739526"/>
              <a:gd name="connsiteX84" fmla="*/ 6315677 w 7948307"/>
              <a:gd name="connsiteY84" fmla="*/ 377891 h 739526"/>
              <a:gd name="connsiteX85" fmla="*/ 6315677 w 7948307"/>
              <a:gd name="connsiteY85" fmla="*/ 723270 h 739526"/>
              <a:gd name="connsiteX86" fmla="*/ 6434883 w 7948307"/>
              <a:gd name="connsiteY86" fmla="*/ 723270 h 739526"/>
              <a:gd name="connsiteX87" fmla="*/ 6434883 w 7948307"/>
              <a:gd name="connsiteY87" fmla="*/ 376789 h 739526"/>
              <a:gd name="connsiteX88" fmla="*/ 6275299 w 7948307"/>
              <a:gd name="connsiteY88" fmla="*/ 208164 h 739526"/>
              <a:gd name="connsiteX89" fmla="*/ 6705679 w 7948307"/>
              <a:gd name="connsiteY89" fmla="*/ 208164 h 739526"/>
              <a:gd name="connsiteX90" fmla="*/ 6512746 w 7948307"/>
              <a:gd name="connsiteY90" fmla="*/ 353645 h 739526"/>
              <a:gd name="connsiteX91" fmla="*/ 6634983 w 7948307"/>
              <a:gd name="connsiteY91" fmla="*/ 499125 h 739526"/>
              <a:gd name="connsiteX92" fmla="*/ 6735996 w 7948307"/>
              <a:gd name="connsiteY92" fmla="*/ 524336 h 739526"/>
              <a:gd name="connsiteX93" fmla="*/ 6813859 w 7948307"/>
              <a:gd name="connsiteY93" fmla="*/ 599143 h 739526"/>
              <a:gd name="connsiteX94" fmla="*/ 6713809 w 7948307"/>
              <a:gd name="connsiteY94" fmla="*/ 680012 h 739526"/>
              <a:gd name="connsiteX95" fmla="*/ 6598601 w 7948307"/>
              <a:gd name="connsiteY95" fmla="*/ 562911 h 739526"/>
              <a:gd name="connsiteX96" fmla="*/ 6491522 w 7948307"/>
              <a:gd name="connsiteY96" fmla="*/ 593219 h 739526"/>
              <a:gd name="connsiteX97" fmla="*/ 6700717 w 7948307"/>
              <a:gd name="connsiteY97" fmla="*/ 733603 h 739526"/>
              <a:gd name="connsiteX98" fmla="*/ 6910877 w 7948307"/>
              <a:gd name="connsiteY98" fmla="*/ 568973 h 739526"/>
              <a:gd name="connsiteX99" fmla="*/ 6776513 w 7948307"/>
              <a:gd name="connsiteY99" fmla="*/ 417430 h 739526"/>
              <a:gd name="connsiteX100" fmla="*/ 6679495 w 7948307"/>
              <a:gd name="connsiteY100" fmla="*/ 393183 h 739526"/>
              <a:gd name="connsiteX101" fmla="*/ 6609763 w 7948307"/>
              <a:gd name="connsiteY101" fmla="*/ 326505 h 739526"/>
              <a:gd name="connsiteX102" fmla="*/ 6695618 w 7948307"/>
              <a:gd name="connsiteY102" fmla="*/ 261893 h 739526"/>
              <a:gd name="connsiteX103" fmla="*/ 6798701 w 7948307"/>
              <a:gd name="connsiteY103" fmla="*/ 358880 h 739526"/>
              <a:gd name="connsiteX104" fmla="*/ 6899714 w 7948307"/>
              <a:gd name="connsiteY104" fmla="*/ 328571 h 739526"/>
              <a:gd name="connsiteX105" fmla="*/ 6705679 w 7948307"/>
              <a:gd name="connsiteY105" fmla="*/ 208440 h 739526"/>
              <a:gd name="connsiteX106" fmla="*/ 7206755 w 7948307"/>
              <a:gd name="connsiteY106" fmla="*/ 678083 h 739526"/>
              <a:gd name="connsiteX107" fmla="*/ 7085482 w 7948307"/>
              <a:gd name="connsiteY107" fmla="*/ 471021 h 739526"/>
              <a:gd name="connsiteX108" fmla="*/ 7206755 w 7948307"/>
              <a:gd name="connsiteY108" fmla="*/ 263959 h 739526"/>
              <a:gd name="connsiteX109" fmla="*/ 7328027 w 7948307"/>
              <a:gd name="connsiteY109" fmla="*/ 471021 h 739526"/>
              <a:gd name="connsiteX110" fmla="*/ 7206755 w 7948307"/>
              <a:gd name="connsiteY110" fmla="*/ 678083 h 739526"/>
              <a:gd name="connsiteX111" fmla="*/ 7206755 w 7948307"/>
              <a:gd name="connsiteY111" fmla="*/ 208440 h 739526"/>
              <a:gd name="connsiteX112" fmla="*/ 6960213 w 7948307"/>
              <a:gd name="connsiteY112" fmla="*/ 471021 h 739526"/>
              <a:gd name="connsiteX113" fmla="*/ 7206755 w 7948307"/>
              <a:gd name="connsiteY113" fmla="*/ 733603 h 739526"/>
              <a:gd name="connsiteX114" fmla="*/ 7453296 w 7948307"/>
              <a:gd name="connsiteY114" fmla="*/ 471021 h 739526"/>
              <a:gd name="connsiteX115" fmla="*/ 7206755 w 7948307"/>
              <a:gd name="connsiteY115" fmla="*/ 208440 h 739526"/>
              <a:gd name="connsiteX116" fmla="*/ 7788724 w 7948307"/>
              <a:gd name="connsiteY116" fmla="*/ 208440 h 739526"/>
              <a:gd name="connsiteX117" fmla="*/ 7649261 w 7948307"/>
              <a:gd name="connsiteY117" fmla="*/ 282144 h 739526"/>
              <a:gd name="connsiteX118" fmla="*/ 7643197 w 7948307"/>
              <a:gd name="connsiteY118" fmla="*/ 282144 h 739526"/>
              <a:gd name="connsiteX119" fmla="*/ 7643197 w 7948307"/>
              <a:gd name="connsiteY119" fmla="*/ 218496 h 739526"/>
              <a:gd name="connsiteX120" fmla="*/ 7523992 w 7948307"/>
              <a:gd name="connsiteY120" fmla="*/ 218496 h 739526"/>
              <a:gd name="connsiteX121" fmla="*/ 7523992 w 7948307"/>
              <a:gd name="connsiteY121" fmla="*/ 723546 h 739526"/>
              <a:gd name="connsiteX122" fmla="*/ 7643197 w 7948307"/>
              <a:gd name="connsiteY122" fmla="*/ 723546 h 739526"/>
              <a:gd name="connsiteX123" fmla="*/ 7643197 w 7948307"/>
              <a:gd name="connsiteY123" fmla="*/ 397316 h 739526"/>
              <a:gd name="connsiteX124" fmla="*/ 7743247 w 7948307"/>
              <a:gd name="connsiteY124" fmla="*/ 279113 h 739526"/>
              <a:gd name="connsiteX125" fmla="*/ 7829102 w 7948307"/>
              <a:gd name="connsiteY125" fmla="*/ 378167 h 739526"/>
              <a:gd name="connsiteX126" fmla="*/ 7829102 w 7948307"/>
              <a:gd name="connsiteY126" fmla="*/ 723546 h 739526"/>
              <a:gd name="connsiteX127" fmla="*/ 7948308 w 7948307"/>
              <a:gd name="connsiteY127" fmla="*/ 723546 h 739526"/>
              <a:gd name="connsiteX128" fmla="*/ 7948308 w 7948307"/>
              <a:gd name="connsiteY128" fmla="*/ 377065 h 739526"/>
              <a:gd name="connsiteX129" fmla="*/ 7788724 w 7948307"/>
              <a:gd name="connsiteY129" fmla="*/ 208440 h 739526"/>
              <a:gd name="connsiteX130" fmla="*/ 468828 w 7948307"/>
              <a:gd name="connsiteY130" fmla="*/ 16532 h 739526"/>
              <a:gd name="connsiteX131" fmla="*/ 343559 w 7948307"/>
              <a:gd name="connsiteY131" fmla="*/ 16532 h 739526"/>
              <a:gd name="connsiteX132" fmla="*/ 343559 w 7948307"/>
              <a:gd name="connsiteY132" fmla="*/ 538664 h 739526"/>
              <a:gd name="connsiteX133" fmla="*/ 234414 w 7948307"/>
              <a:gd name="connsiteY133" fmla="*/ 673950 h 739526"/>
              <a:gd name="connsiteX134" fmla="*/ 125269 w 7948307"/>
              <a:gd name="connsiteY134" fmla="*/ 528469 h 739526"/>
              <a:gd name="connsiteX135" fmla="*/ 125269 w 7948307"/>
              <a:gd name="connsiteY135" fmla="*/ 431482 h 739526"/>
              <a:gd name="connsiteX136" fmla="*/ 0 w 7948307"/>
              <a:gd name="connsiteY136" fmla="*/ 462755 h 739526"/>
              <a:gd name="connsiteX137" fmla="*/ 0 w 7948307"/>
              <a:gd name="connsiteY137" fmla="*/ 506151 h 739526"/>
              <a:gd name="connsiteX138" fmla="*/ 234414 w 7948307"/>
              <a:gd name="connsiteY138" fmla="*/ 739527 h 739526"/>
              <a:gd name="connsiteX139" fmla="*/ 468828 w 7948307"/>
              <a:gd name="connsiteY139" fmla="*/ 506151 h 739526"/>
              <a:gd name="connsiteX140" fmla="*/ 468828 w 7948307"/>
              <a:gd name="connsiteY140" fmla="*/ 16256 h 739526"/>
              <a:gd name="connsiteX141" fmla="*/ 1222509 w 7948307"/>
              <a:gd name="connsiteY141" fmla="*/ 16256 h 739526"/>
              <a:gd name="connsiteX142" fmla="*/ 1103304 w 7948307"/>
              <a:gd name="connsiteY142" fmla="*/ 16256 h 739526"/>
              <a:gd name="connsiteX143" fmla="*/ 1103304 w 7948307"/>
              <a:gd name="connsiteY143" fmla="*/ 723270 h 739526"/>
              <a:gd name="connsiteX144" fmla="*/ 1222509 w 7948307"/>
              <a:gd name="connsiteY144" fmla="*/ 723270 h 739526"/>
              <a:gd name="connsiteX145" fmla="*/ 1222509 w 7948307"/>
              <a:gd name="connsiteY145" fmla="*/ 397041 h 739526"/>
              <a:gd name="connsiteX146" fmla="*/ 1322559 w 7948307"/>
              <a:gd name="connsiteY146" fmla="*/ 278838 h 739526"/>
              <a:gd name="connsiteX147" fmla="*/ 1408415 w 7948307"/>
              <a:gd name="connsiteY147" fmla="*/ 377891 h 739526"/>
              <a:gd name="connsiteX148" fmla="*/ 1408415 w 7948307"/>
              <a:gd name="connsiteY148" fmla="*/ 723270 h 739526"/>
              <a:gd name="connsiteX149" fmla="*/ 1527620 w 7948307"/>
              <a:gd name="connsiteY149" fmla="*/ 723270 h 739526"/>
              <a:gd name="connsiteX150" fmla="*/ 1527620 w 7948307"/>
              <a:gd name="connsiteY150" fmla="*/ 376789 h 739526"/>
              <a:gd name="connsiteX151" fmla="*/ 1368036 w 7948307"/>
              <a:gd name="connsiteY151" fmla="*/ 208164 h 739526"/>
              <a:gd name="connsiteX152" fmla="*/ 1228573 w 7948307"/>
              <a:gd name="connsiteY152" fmla="*/ 281869 h 739526"/>
              <a:gd name="connsiteX153" fmla="*/ 1222509 w 7948307"/>
              <a:gd name="connsiteY153" fmla="*/ 281869 h 739526"/>
              <a:gd name="connsiteX154" fmla="*/ 1222509 w 7948307"/>
              <a:gd name="connsiteY154" fmla="*/ 16256 h 739526"/>
              <a:gd name="connsiteX155" fmla="*/ 4855722 w 7948307"/>
              <a:gd name="connsiteY155" fmla="*/ 16256 h 739526"/>
              <a:gd name="connsiteX156" fmla="*/ 4730453 w 7948307"/>
              <a:gd name="connsiteY156" fmla="*/ 16256 h 739526"/>
              <a:gd name="connsiteX157" fmla="*/ 4730453 w 7948307"/>
              <a:gd name="connsiteY157" fmla="*/ 538389 h 739526"/>
              <a:gd name="connsiteX158" fmla="*/ 4621308 w 7948307"/>
              <a:gd name="connsiteY158" fmla="*/ 673675 h 739526"/>
              <a:gd name="connsiteX159" fmla="*/ 4512163 w 7948307"/>
              <a:gd name="connsiteY159" fmla="*/ 528194 h 739526"/>
              <a:gd name="connsiteX160" fmla="*/ 4512163 w 7948307"/>
              <a:gd name="connsiteY160" fmla="*/ 431207 h 739526"/>
              <a:gd name="connsiteX161" fmla="*/ 4386894 w 7948307"/>
              <a:gd name="connsiteY161" fmla="*/ 462480 h 739526"/>
              <a:gd name="connsiteX162" fmla="*/ 4386894 w 7948307"/>
              <a:gd name="connsiteY162" fmla="*/ 505876 h 739526"/>
              <a:gd name="connsiteX163" fmla="*/ 4621308 w 7948307"/>
              <a:gd name="connsiteY163" fmla="*/ 739251 h 739526"/>
              <a:gd name="connsiteX164" fmla="*/ 4855722 w 7948307"/>
              <a:gd name="connsiteY164" fmla="*/ 505876 h 739526"/>
              <a:gd name="connsiteX165" fmla="*/ 4855722 w 7948307"/>
              <a:gd name="connsiteY165" fmla="*/ 15981 h 739526"/>
              <a:gd name="connsiteX166" fmla="*/ 5609403 w 7948307"/>
              <a:gd name="connsiteY166" fmla="*/ 15981 h 739526"/>
              <a:gd name="connsiteX167" fmla="*/ 5490198 w 7948307"/>
              <a:gd name="connsiteY167" fmla="*/ 15981 h 739526"/>
              <a:gd name="connsiteX168" fmla="*/ 5490198 w 7948307"/>
              <a:gd name="connsiteY168" fmla="*/ 722995 h 739526"/>
              <a:gd name="connsiteX169" fmla="*/ 5609403 w 7948307"/>
              <a:gd name="connsiteY169" fmla="*/ 722995 h 739526"/>
              <a:gd name="connsiteX170" fmla="*/ 5609403 w 7948307"/>
              <a:gd name="connsiteY170" fmla="*/ 396765 h 739526"/>
              <a:gd name="connsiteX171" fmla="*/ 5709453 w 7948307"/>
              <a:gd name="connsiteY171" fmla="*/ 278562 h 739526"/>
              <a:gd name="connsiteX172" fmla="*/ 5795308 w 7948307"/>
              <a:gd name="connsiteY172" fmla="*/ 377616 h 739526"/>
              <a:gd name="connsiteX173" fmla="*/ 5795308 w 7948307"/>
              <a:gd name="connsiteY173" fmla="*/ 722995 h 739526"/>
              <a:gd name="connsiteX174" fmla="*/ 5914514 w 7948307"/>
              <a:gd name="connsiteY174" fmla="*/ 722995 h 739526"/>
              <a:gd name="connsiteX175" fmla="*/ 5914514 w 7948307"/>
              <a:gd name="connsiteY175" fmla="*/ 376514 h 739526"/>
              <a:gd name="connsiteX176" fmla="*/ 5754930 w 7948307"/>
              <a:gd name="connsiteY176" fmla="*/ 207889 h 739526"/>
              <a:gd name="connsiteX177" fmla="*/ 5615466 w 7948307"/>
              <a:gd name="connsiteY177" fmla="*/ 281593 h 739526"/>
              <a:gd name="connsiteX178" fmla="*/ 5609403 w 7948307"/>
              <a:gd name="connsiteY178" fmla="*/ 281593 h 739526"/>
              <a:gd name="connsiteX179" fmla="*/ 5609403 w 7948307"/>
              <a:gd name="connsiteY179" fmla="*/ 15981 h 739526"/>
              <a:gd name="connsiteX180" fmla="*/ 3954447 w 7948307"/>
              <a:gd name="connsiteY180" fmla="*/ 665409 h 739526"/>
              <a:gd name="connsiteX181" fmla="*/ 3797895 w 7948307"/>
              <a:gd name="connsiteY181" fmla="*/ 502845 h 739526"/>
              <a:gd name="connsiteX182" fmla="*/ 3859496 w 7948307"/>
              <a:gd name="connsiteY182" fmla="*/ 374585 h 739526"/>
              <a:gd name="connsiteX183" fmla="*/ 4087847 w 7948307"/>
              <a:gd name="connsiteY183" fmla="*/ 624079 h 739526"/>
              <a:gd name="connsiteX184" fmla="*/ 3954447 w 7948307"/>
              <a:gd name="connsiteY184" fmla="*/ 665546 h 739526"/>
              <a:gd name="connsiteX185" fmla="*/ 4176734 w 7948307"/>
              <a:gd name="connsiteY185" fmla="*/ 541282 h 739526"/>
              <a:gd name="connsiteX186" fmla="*/ 3978702 w 7948307"/>
              <a:gd name="connsiteY186" fmla="*/ 323061 h 739526"/>
              <a:gd name="connsiteX187" fmla="*/ 4076684 w 7948307"/>
              <a:gd name="connsiteY187" fmla="*/ 303911 h 739526"/>
              <a:gd name="connsiteX188" fmla="*/ 4208981 w 7948307"/>
              <a:gd name="connsiteY188" fmla="*/ 433273 h 739526"/>
              <a:gd name="connsiteX189" fmla="*/ 4176596 w 7948307"/>
              <a:gd name="connsiteY189" fmla="*/ 541282 h 739526"/>
              <a:gd name="connsiteX190" fmla="*/ 3951278 w 7948307"/>
              <a:gd name="connsiteY190" fmla="*/ 293854 h 739526"/>
              <a:gd name="connsiteX191" fmla="*/ 3907868 w 7948307"/>
              <a:gd name="connsiteY191" fmla="*/ 245361 h 739526"/>
              <a:gd name="connsiteX192" fmla="*/ 3858394 w 7948307"/>
              <a:gd name="connsiteY192" fmla="*/ 145343 h 739526"/>
              <a:gd name="connsiteX193" fmla="*/ 3954309 w 7948307"/>
              <a:gd name="connsiteY193" fmla="*/ 53453 h 739526"/>
              <a:gd name="connsiteX194" fmla="*/ 4049260 w 7948307"/>
              <a:gd name="connsiteY194" fmla="*/ 150440 h 739526"/>
              <a:gd name="connsiteX195" fmla="*/ 3951278 w 7948307"/>
              <a:gd name="connsiteY195" fmla="*/ 293854 h 739526"/>
              <a:gd name="connsiteX196" fmla="*/ 3957341 w 7948307"/>
              <a:gd name="connsiteY196" fmla="*/ 0 h 739526"/>
              <a:gd name="connsiteX197" fmla="*/ 3749249 w 7948307"/>
              <a:gd name="connsiteY197" fmla="*/ 174687 h 739526"/>
              <a:gd name="connsiteX198" fmla="*/ 3830143 w 7948307"/>
              <a:gd name="connsiteY198" fmla="*/ 343312 h 739526"/>
              <a:gd name="connsiteX199" fmla="*/ 3831108 w 7948307"/>
              <a:gd name="connsiteY199" fmla="*/ 345379 h 739526"/>
              <a:gd name="connsiteX200" fmla="*/ 3686683 w 7948307"/>
              <a:gd name="connsiteY200" fmla="*/ 548445 h 739526"/>
              <a:gd name="connsiteX201" fmla="*/ 3889815 w 7948307"/>
              <a:gd name="connsiteY201" fmla="*/ 739389 h 739526"/>
              <a:gd name="connsiteX202" fmla="*/ 4118165 w 7948307"/>
              <a:gd name="connsiteY202" fmla="*/ 657556 h 739526"/>
              <a:gd name="connsiteX203" fmla="*/ 4178801 w 7948307"/>
              <a:gd name="connsiteY203" fmla="*/ 723270 h 739526"/>
              <a:gd name="connsiteX204" fmla="*/ 4337420 w 7948307"/>
              <a:gd name="connsiteY204" fmla="*/ 723270 h 739526"/>
              <a:gd name="connsiteX205" fmla="*/ 4337420 w 7948307"/>
              <a:gd name="connsiteY205" fmla="*/ 718173 h 739526"/>
              <a:gd name="connsiteX206" fmla="*/ 4208155 w 7948307"/>
              <a:gd name="connsiteY206" fmla="*/ 575723 h 739526"/>
              <a:gd name="connsiteX207" fmla="*/ 4294011 w 7948307"/>
              <a:gd name="connsiteY207" fmla="*/ 378718 h 739526"/>
              <a:gd name="connsiteX208" fmla="*/ 4161713 w 7948307"/>
              <a:gd name="connsiteY208" fmla="*/ 250458 h 739526"/>
              <a:gd name="connsiteX209" fmla="*/ 4040440 w 7948307"/>
              <a:gd name="connsiteY209" fmla="*/ 274705 h 739526"/>
              <a:gd name="connsiteX210" fmla="*/ 4038373 w 7948307"/>
              <a:gd name="connsiteY210" fmla="*/ 270710 h 739526"/>
              <a:gd name="connsiteX211" fmla="*/ 4147518 w 7948307"/>
              <a:gd name="connsiteY211" fmla="*/ 137352 h 739526"/>
              <a:gd name="connsiteX212" fmla="*/ 3957617 w 7948307"/>
              <a:gd name="connsiteY212" fmla="*/ 0 h 739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7948307" h="739526">
                <a:moveTo>
                  <a:pt x="786066" y="677532"/>
                </a:moveTo>
                <a:cubicBezTo>
                  <a:pt x="708204" y="677532"/>
                  <a:pt x="664794" y="603827"/>
                  <a:pt x="664794" y="470470"/>
                </a:cubicBezTo>
                <a:cubicBezTo>
                  <a:pt x="664794" y="337113"/>
                  <a:pt x="708204" y="263408"/>
                  <a:pt x="786066" y="263408"/>
                </a:cubicBezTo>
                <a:cubicBezTo>
                  <a:pt x="863929" y="263408"/>
                  <a:pt x="907339" y="336148"/>
                  <a:pt x="907339" y="470470"/>
                </a:cubicBezTo>
                <a:cubicBezTo>
                  <a:pt x="907339" y="604792"/>
                  <a:pt x="863929" y="677532"/>
                  <a:pt x="786066" y="677532"/>
                </a:cubicBezTo>
                <a:moveTo>
                  <a:pt x="786066" y="207889"/>
                </a:moveTo>
                <a:cubicBezTo>
                  <a:pt x="627447" y="207889"/>
                  <a:pt x="539525" y="326091"/>
                  <a:pt x="539525" y="470470"/>
                </a:cubicBezTo>
                <a:cubicBezTo>
                  <a:pt x="539525" y="614849"/>
                  <a:pt x="627447" y="733052"/>
                  <a:pt x="786066" y="733052"/>
                </a:cubicBezTo>
                <a:cubicBezTo>
                  <a:pt x="944685" y="733052"/>
                  <a:pt x="1032607" y="614849"/>
                  <a:pt x="1032607" y="470470"/>
                </a:cubicBezTo>
                <a:cubicBezTo>
                  <a:pt x="1032607" y="326091"/>
                  <a:pt x="944685" y="207889"/>
                  <a:pt x="786066" y="207889"/>
                </a:cubicBezTo>
                <a:moveTo>
                  <a:pt x="1888405" y="207889"/>
                </a:moveTo>
                <a:cubicBezTo>
                  <a:pt x="1813575" y="207889"/>
                  <a:pt x="1772232" y="240263"/>
                  <a:pt x="1748942" y="281593"/>
                </a:cubicBezTo>
                <a:lnTo>
                  <a:pt x="1742878" y="281593"/>
                </a:lnTo>
                <a:lnTo>
                  <a:pt x="1742878" y="217945"/>
                </a:lnTo>
                <a:lnTo>
                  <a:pt x="1623673" y="217945"/>
                </a:lnTo>
                <a:lnTo>
                  <a:pt x="1623673" y="722995"/>
                </a:lnTo>
                <a:lnTo>
                  <a:pt x="1742878" y="722995"/>
                </a:lnTo>
                <a:lnTo>
                  <a:pt x="1742878" y="396765"/>
                </a:lnTo>
                <a:cubicBezTo>
                  <a:pt x="1742878" y="322096"/>
                  <a:pt x="1781327" y="278562"/>
                  <a:pt x="1842928" y="278562"/>
                </a:cubicBezTo>
                <a:cubicBezTo>
                  <a:pt x="1904529" y="278562"/>
                  <a:pt x="1928783" y="317963"/>
                  <a:pt x="1928783" y="377616"/>
                </a:cubicBezTo>
                <a:lnTo>
                  <a:pt x="1928783" y="722995"/>
                </a:lnTo>
                <a:lnTo>
                  <a:pt x="2047989" y="722995"/>
                </a:lnTo>
                <a:lnTo>
                  <a:pt x="2047989" y="376514"/>
                </a:lnTo>
                <a:cubicBezTo>
                  <a:pt x="2047989" y="272501"/>
                  <a:pt x="1993416" y="207889"/>
                  <a:pt x="1888405" y="207889"/>
                </a:cubicBezTo>
                <a:moveTo>
                  <a:pt x="2318785" y="207889"/>
                </a:moveTo>
                <a:cubicBezTo>
                  <a:pt x="2208675" y="207889"/>
                  <a:pt x="2125851" y="254316"/>
                  <a:pt x="2125851" y="353369"/>
                </a:cubicBezTo>
                <a:cubicBezTo>
                  <a:pt x="2125851" y="437269"/>
                  <a:pt x="2183456" y="482731"/>
                  <a:pt x="2248089" y="498850"/>
                </a:cubicBezTo>
                <a:lnTo>
                  <a:pt x="2349103" y="524061"/>
                </a:lnTo>
                <a:cubicBezTo>
                  <a:pt x="2402711" y="537149"/>
                  <a:pt x="2426965" y="556436"/>
                  <a:pt x="2426965" y="598868"/>
                </a:cubicBezTo>
                <a:cubicBezTo>
                  <a:pt x="2426965" y="650392"/>
                  <a:pt x="2390584" y="679736"/>
                  <a:pt x="2326916" y="679736"/>
                </a:cubicBezTo>
                <a:cubicBezTo>
                  <a:pt x="2258148" y="679736"/>
                  <a:pt x="2222869" y="646397"/>
                  <a:pt x="2211707" y="562635"/>
                </a:cubicBezTo>
                <a:lnTo>
                  <a:pt x="2104629" y="592944"/>
                </a:lnTo>
                <a:cubicBezTo>
                  <a:pt x="2110692" y="679874"/>
                  <a:pt x="2191587" y="733327"/>
                  <a:pt x="2313824" y="733327"/>
                </a:cubicBezTo>
                <a:cubicBezTo>
                  <a:pt x="2450255" y="733327"/>
                  <a:pt x="2523983" y="669679"/>
                  <a:pt x="2523983" y="568697"/>
                </a:cubicBezTo>
                <a:cubicBezTo>
                  <a:pt x="2523983" y="473776"/>
                  <a:pt x="2458248" y="434375"/>
                  <a:pt x="2389619" y="417155"/>
                </a:cubicBezTo>
                <a:lnTo>
                  <a:pt x="2292601" y="392908"/>
                </a:lnTo>
                <a:cubicBezTo>
                  <a:pt x="2244092" y="380784"/>
                  <a:pt x="2222869" y="358604"/>
                  <a:pt x="2222869" y="326229"/>
                </a:cubicBezTo>
                <a:cubicBezTo>
                  <a:pt x="2222869" y="285864"/>
                  <a:pt x="2257184" y="261617"/>
                  <a:pt x="2308725" y="261617"/>
                </a:cubicBezTo>
                <a:cubicBezTo>
                  <a:pt x="2369361" y="261617"/>
                  <a:pt x="2406707" y="294957"/>
                  <a:pt x="2411806" y="358604"/>
                </a:cubicBezTo>
                <a:lnTo>
                  <a:pt x="2512821" y="328296"/>
                </a:lnTo>
                <a:cubicBezTo>
                  <a:pt x="2500693" y="257622"/>
                  <a:pt x="2430962" y="208164"/>
                  <a:pt x="2318785" y="208164"/>
                </a:cubicBezTo>
                <a:moveTo>
                  <a:pt x="2819861" y="677807"/>
                </a:moveTo>
                <a:cubicBezTo>
                  <a:pt x="2741998" y="677807"/>
                  <a:pt x="2698588" y="604103"/>
                  <a:pt x="2698588" y="470746"/>
                </a:cubicBezTo>
                <a:cubicBezTo>
                  <a:pt x="2698588" y="337388"/>
                  <a:pt x="2741998" y="263684"/>
                  <a:pt x="2819861" y="263684"/>
                </a:cubicBezTo>
                <a:cubicBezTo>
                  <a:pt x="2897723" y="263684"/>
                  <a:pt x="2941133" y="336424"/>
                  <a:pt x="2941133" y="470746"/>
                </a:cubicBezTo>
                <a:cubicBezTo>
                  <a:pt x="2941133" y="605067"/>
                  <a:pt x="2897723" y="677807"/>
                  <a:pt x="2819861" y="677807"/>
                </a:cubicBezTo>
                <a:moveTo>
                  <a:pt x="2819861" y="208164"/>
                </a:moveTo>
                <a:cubicBezTo>
                  <a:pt x="2661242" y="208164"/>
                  <a:pt x="2573319" y="326367"/>
                  <a:pt x="2573319" y="470746"/>
                </a:cubicBezTo>
                <a:cubicBezTo>
                  <a:pt x="2573319" y="615124"/>
                  <a:pt x="2661242" y="733327"/>
                  <a:pt x="2819861" y="733327"/>
                </a:cubicBezTo>
                <a:cubicBezTo>
                  <a:pt x="2978480" y="733327"/>
                  <a:pt x="3066402" y="615124"/>
                  <a:pt x="3066402" y="470746"/>
                </a:cubicBezTo>
                <a:cubicBezTo>
                  <a:pt x="3066402" y="326367"/>
                  <a:pt x="2978480" y="208164"/>
                  <a:pt x="2819861" y="208164"/>
                </a:cubicBezTo>
                <a:moveTo>
                  <a:pt x="3401831" y="208164"/>
                </a:moveTo>
                <a:cubicBezTo>
                  <a:pt x="3327000" y="208164"/>
                  <a:pt x="3285657" y="240539"/>
                  <a:pt x="3262367" y="281869"/>
                </a:cubicBezTo>
                <a:lnTo>
                  <a:pt x="3256304" y="281869"/>
                </a:lnTo>
                <a:lnTo>
                  <a:pt x="3256304" y="218221"/>
                </a:lnTo>
                <a:lnTo>
                  <a:pt x="3137098" y="218221"/>
                </a:lnTo>
                <a:lnTo>
                  <a:pt x="3137098" y="723270"/>
                </a:lnTo>
                <a:lnTo>
                  <a:pt x="3256304" y="723270"/>
                </a:lnTo>
                <a:lnTo>
                  <a:pt x="3256304" y="397041"/>
                </a:lnTo>
                <a:cubicBezTo>
                  <a:pt x="3256304" y="322372"/>
                  <a:pt x="3294752" y="278838"/>
                  <a:pt x="3356353" y="278838"/>
                </a:cubicBezTo>
                <a:cubicBezTo>
                  <a:pt x="3417954" y="278838"/>
                  <a:pt x="3442209" y="318239"/>
                  <a:pt x="3442209" y="377891"/>
                </a:cubicBezTo>
                <a:lnTo>
                  <a:pt x="3442209" y="723270"/>
                </a:lnTo>
                <a:lnTo>
                  <a:pt x="3561414" y="723270"/>
                </a:lnTo>
                <a:lnTo>
                  <a:pt x="3561414" y="376789"/>
                </a:lnTo>
                <a:cubicBezTo>
                  <a:pt x="3561414" y="272776"/>
                  <a:pt x="3506842" y="208164"/>
                  <a:pt x="3401831" y="208164"/>
                </a:cubicBezTo>
                <a:moveTo>
                  <a:pt x="5172960" y="677807"/>
                </a:moveTo>
                <a:cubicBezTo>
                  <a:pt x="5095097" y="677807"/>
                  <a:pt x="5051688" y="604103"/>
                  <a:pt x="5051688" y="470746"/>
                </a:cubicBezTo>
                <a:cubicBezTo>
                  <a:pt x="5051688" y="337388"/>
                  <a:pt x="5095097" y="263684"/>
                  <a:pt x="5172960" y="263684"/>
                </a:cubicBezTo>
                <a:cubicBezTo>
                  <a:pt x="5250823" y="263684"/>
                  <a:pt x="5294232" y="336424"/>
                  <a:pt x="5294232" y="470746"/>
                </a:cubicBezTo>
                <a:cubicBezTo>
                  <a:pt x="5294232" y="605067"/>
                  <a:pt x="5250823" y="677807"/>
                  <a:pt x="5172960" y="677807"/>
                </a:cubicBezTo>
                <a:moveTo>
                  <a:pt x="5172960" y="208164"/>
                </a:moveTo>
                <a:cubicBezTo>
                  <a:pt x="5014341" y="208164"/>
                  <a:pt x="4926418" y="326367"/>
                  <a:pt x="4926418" y="470746"/>
                </a:cubicBezTo>
                <a:cubicBezTo>
                  <a:pt x="4926418" y="615124"/>
                  <a:pt x="5014341" y="733327"/>
                  <a:pt x="5172960" y="733327"/>
                </a:cubicBezTo>
                <a:cubicBezTo>
                  <a:pt x="5331579" y="733327"/>
                  <a:pt x="5419502" y="615124"/>
                  <a:pt x="5419502" y="470746"/>
                </a:cubicBezTo>
                <a:cubicBezTo>
                  <a:pt x="5419502" y="326367"/>
                  <a:pt x="5331579" y="208164"/>
                  <a:pt x="5172960" y="208164"/>
                </a:cubicBezTo>
                <a:moveTo>
                  <a:pt x="6275299" y="208164"/>
                </a:moveTo>
                <a:cubicBezTo>
                  <a:pt x="6200468" y="208164"/>
                  <a:pt x="6159126" y="240539"/>
                  <a:pt x="6135836" y="281869"/>
                </a:cubicBezTo>
                <a:lnTo>
                  <a:pt x="6129772" y="281869"/>
                </a:lnTo>
                <a:lnTo>
                  <a:pt x="6129772" y="218221"/>
                </a:lnTo>
                <a:lnTo>
                  <a:pt x="6010567" y="218221"/>
                </a:lnTo>
                <a:lnTo>
                  <a:pt x="6010567" y="723270"/>
                </a:lnTo>
                <a:lnTo>
                  <a:pt x="6129772" y="723270"/>
                </a:lnTo>
                <a:lnTo>
                  <a:pt x="6129772" y="397041"/>
                </a:lnTo>
                <a:cubicBezTo>
                  <a:pt x="6129772" y="322372"/>
                  <a:pt x="6168222" y="278838"/>
                  <a:pt x="6229822" y="278838"/>
                </a:cubicBezTo>
                <a:cubicBezTo>
                  <a:pt x="6291422" y="278838"/>
                  <a:pt x="6315677" y="318239"/>
                  <a:pt x="6315677" y="377891"/>
                </a:cubicBezTo>
                <a:lnTo>
                  <a:pt x="6315677" y="723270"/>
                </a:lnTo>
                <a:lnTo>
                  <a:pt x="6434883" y="723270"/>
                </a:lnTo>
                <a:lnTo>
                  <a:pt x="6434883" y="376789"/>
                </a:lnTo>
                <a:cubicBezTo>
                  <a:pt x="6434883" y="272776"/>
                  <a:pt x="6380310" y="208164"/>
                  <a:pt x="6275299" y="208164"/>
                </a:cubicBezTo>
                <a:moveTo>
                  <a:pt x="6705679" y="208164"/>
                </a:moveTo>
                <a:cubicBezTo>
                  <a:pt x="6595568" y="208164"/>
                  <a:pt x="6512746" y="254591"/>
                  <a:pt x="6512746" y="353645"/>
                </a:cubicBezTo>
                <a:cubicBezTo>
                  <a:pt x="6512746" y="437544"/>
                  <a:pt x="6570350" y="483007"/>
                  <a:pt x="6634983" y="499125"/>
                </a:cubicBezTo>
                <a:lnTo>
                  <a:pt x="6735996" y="524336"/>
                </a:lnTo>
                <a:cubicBezTo>
                  <a:pt x="6789605" y="537424"/>
                  <a:pt x="6813859" y="556711"/>
                  <a:pt x="6813859" y="599143"/>
                </a:cubicBezTo>
                <a:cubicBezTo>
                  <a:pt x="6813859" y="650668"/>
                  <a:pt x="6777477" y="680012"/>
                  <a:pt x="6713809" y="680012"/>
                </a:cubicBezTo>
                <a:cubicBezTo>
                  <a:pt x="6645042" y="680012"/>
                  <a:pt x="6609763" y="646672"/>
                  <a:pt x="6598601" y="562911"/>
                </a:cubicBezTo>
                <a:lnTo>
                  <a:pt x="6491522" y="593219"/>
                </a:lnTo>
                <a:cubicBezTo>
                  <a:pt x="6497586" y="680149"/>
                  <a:pt x="6578480" y="733603"/>
                  <a:pt x="6700717" y="733603"/>
                </a:cubicBezTo>
                <a:cubicBezTo>
                  <a:pt x="6837149" y="733603"/>
                  <a:pt x="6910877" y="669955"/>
                  <a:pt x="6910877" y="568973"/>
                </a:cubicBezTo>
                <a:cubicBezTo>
                  <a:pt x="6910877" y="474052"/>
                  <a:pt x="6845142" y="434651"/>
                  <a:pt x="6776513" y="417430"/>
                </a:cubicBezTo>
                <a:lnTo>
                  <a:pt x="6679495" y="393183"/>
                </a:lnTo>
                <a:cubicBezTo>
                  <a:pt x="6630986" y="381060"/>
                  <a:pt x="6609763" y="358880"/>
                  <a:pt x="6609763" y="326505"/>
                </a:cubicBezTo>
                <a:cubicBezTo>
                  <a:pt x="6609763" y="286140"/>
                  <a:pt x="6644078" y="261893"/>
                  <a:pt x="6695618" y="261893"/>
                </a:cubicBezTo>
                <a:cubicBezTo>
                  <a:pt x="6756255" y="261893"/>
                  <a:pt x="6793601" y="295232"/>
                  <a:pt x="6798701" y="358880"/>
                </a:cubicBezTo>
                <a:lnTo>
                  <a:pt x="6899714" y="328571"/>
                </a:lnTo>
                <a:cubicBezTo>
                  <a:pt x="6887587" y="257897"/>
                  <a:pt x="6817855" y="208440"/>
                  <a:pt x="6705679" y="208440"/>
                </a:cubicBezTo>
                <a:moveTo>
                  <a:pt x="7206755" y="678083"/>
                </a:moveTo>
                <a:cubicBezTo>
                  <a:pt x="7128892" y="678083"/>
                  <a:pt x="7085482" y="604378"/>
                  <a:pt x="7085482" y="471021"/>
                </a:cubicBezTo>
                <a:cubicBezTo>
                  <a:pt x="7085482" y="337664"/>
                  <a:pt x="7128892" y="263959"/>
                  <a:pt x="7206755" y="263959"/>
                </a:cubicBezTo>
                <a:cubicBezTo>
                  <a:pt x="7284617" y="263959"/>
                  <a:pt x="7328027" y="336700"/>
                  <a:pt x="7328027" y="471021"/>
                </a:cubicBezTo>
                <a:cubicBezTo>
                  <a:pt x="7328027" y="605343"/>
                  <a:pt x="7284617" y="678083"/>
                  <a:pt x="7206755" y="678083"/>
                </a:cubicBezTo>
                <a:moveTo>
                  <a:pt x="7206755" y="208440"/>
                </a:moveTo>
                <a:cubicBezTo>
                  <a:pt x="7048136" y="208440"/>
                  <a:pt x="6960213" y="326643"/>
                  <a:pt x="6960213" y="471021"/>
                </a:cubicBezTo>
                <a:cubicBezTo>
                  <a:pt x="6960213" y="615400"/>
                  <a:pt x="7048136" y="733603"/>
                  <a:pt x="7206755" y="733603"/>
                </a:cubicBezTo>
                <a:cubicBezTo>
                  <a:pt x="7365374" y="733603"/>
                  <a:pt x="7453296" y="615400"/>
                  <a:pt x="7453296" y="471021"/>
                </a:cubicBezTo>
                <a:cubicBezTo>
                  <a:pt x="7453296" y="326643"/>
                  <a:pt x="7365374" y="208440"/>
                  <a:pt x="7206755" y="208440"/>
                </a:cubicBezTo>
                <a:moveTo>
                  <a:pt x="7788724" y="208440"/>
                </a:moveTo>
                <a:cubicBezTo>
                  <a:pt x="7713894" y="208440"/>
                  <a:pt x="7672551" y="240815"/>
                  <a:pt x="7649261" y="282144"/>
                </a:cubicBezTo>
                <a:lnTo>
                  <a:pt x="7643197" y="282144"/>
                </a:lnTo>
                <a:lnTo>
                  <a:pt x="7643197" y="218496"/>
                </a:lnTo>
                <a:lnTo>
                  <a:pt x="7523992" y="218496"/>
                </a:lnTo>
                <a:lnTo>
                  <a:pt x="7523992" y="723546"/>
                </a:lnTo>
                <a:lnTo>
                  <a:pt x="7643197" y="723546"/>
                </a:lnTo>
                <a:lnTo>
                  <a:pt x="7643197" y="397316"/>
                </a:lnTo>
                <a:cubicBezTo>
                  <a:pt x="7643197" y="322647"/>
                  <a:pt x="7681646" y="279113"/>
                  <a:pt x="7743247" y="279113"/>
                </a:cubicBezTo>
                <a:cubicBezTo>
                  <a:pt x="7804848" y="279113"/>
                  <a:pt x="7829102" y="318514"/>
                  <a:pt x="7829102" y="378167"/>
                </a:cubicBezTo>
                <a:lnTo>
                  <a:pt x="7829102" y="723546"/>
                </a:lnTo>
                <a:lnTo>
                  <a:pt x="7948308" y="723546"/>
                </a:lnTo>
                <a:lnTo>
                  <a:pt x="7948308" y="377065"/>
                </a:lnTo>
                <a:cubicBezTo>
                  <a:pt x="7948308" y="273052"/>
                  <a:pt x="7893735" y="208440"/>
                  <a:pt x="7788724" y="208440"/>
                </a:cubicBezTo>
                <a:moveTo>
                  <a:pt x="468828" y="16532"/>
                </a:moveTo>
                <a:lnTo>
                  <a:pt x="343559" y="16532"/>
                </a:lnTo>
                <a:lnTo>
                  <a:pt x="343559" y="538664"/>
                </a:lnTo>
                <a:cubicBezTo>
                  <a:pt x="343559" y="623528"/>
                  <a:pt x="311174" y="673950"/>
                  <a:pt x="234414" y="673950"/>
                </a:cubicBezTo>
                <a:cubicBezTo>
                  <a:pt x="157654" y="673950"/>
                  <a:pt x="125269" y="620359"/>
                  <a:pt x="125269" y="528469"/>
                </a:cubicBezTo>
                <a:lnTo>
                  <a:pt x="125269" y="431482"/>
                </a:lnTo>
                <a:lnTo>
                  <a:pt x="0" y="462755"/>
                </a:lnTo>
                <a:lnTo>
                  <a:pt x="0" y="506151"/>
                </a:lnTo>
                <a:cubicBezTo>
                  <a:pt x="0" y="638406"/>
                  <a:pt x="65735" y="739527"/>
                  <a:pt x="234414" y="739527"/>
                </a:cubicBezTo>
                <a:cubicBezTo>
                  <a:pt x="403093" y="739527"/>
                  <a:pt x="468828" y="638544"/>
                  <a:pt x="468828" y="506151"/>
                </a:cubicBezTo>
                <a:lnTo>
                  <a:pt x="468828" y="16256"/>
                </a:lnTo>
                <a:moveTo>
                  <a:pt x="1222509" y="16256"/>
                </a:moveTo>
                <a:lnTo>
                  <a:pt x="1103304" y="16256"/>
                </a:lnTo>
                <a:lnTo>
                  <a:pt x="1103304" y="723270"/>
                </a:lnTo>
                <a:lnTo>
                  <a:pt x="1222509" y="723270"/>
                </a:lnTo>
                <a:lnTo>
                  <a:pt x="1222509" y="397041"/>
                </a:lnTo>
                <a:cubicBezTo>
                  <a:pt x="1222509" y="322372"/>
                  <a:pt x="1260958" y="278838"/>
                  <a:pt x="1322559" y="278838"/>
                </a:cubicBezTo>
                <a:cubicBezTo>
                  <a:pt x="1384160" y="278838"/>
                  <a:pt x="1408415" y="318239"/>
                  <a:pt x="1408415" y="377891"/>
                </a:cubicBezTo>
                <a:lnTo>
                  <a:pt x="1408415" y="723270"/>
                </a:lnTo>
                <a:lnTo>
                  <a:pt x="1527620" y="723270"/>
                </a:lnTo>
                <a:lnTo>
                  <a:pt x="1527620" y="376789"/>
                </a:lnTo>
                <a:cubicBezTo>
                  <a:pt x="1527620" y="272776"/>
                  <a:pt x="1473047" y="208164"/>
                  <a:pt x="1368036" y="208164"/>
                </a:cubicBezTo>
                <a:cubicBezTo>
                  <a:pt x="1293206" y="208164"/>
                  <a:pt x="1251863" y="240539"/>
                  <a:pt x="1228573" y="281869"/>
                </a:cubicBezTo>
                <a:lnTo>
                  <a:pt x="1222509" y="281869"/>
                </a:lnTo>
                <a:lnTo>
                  <a:pt x="1222509" y="16256"/>
                </a:lnTo>
                <a:moveTo>
                  <a:pt x="4855722" y="16256"/>
                </a:moveTo>
                <a:lnTo>
                  <a:pt x="4730453" y="16256"/>
                </a:lnTo>
                <a:lnTo>
                  <a:pt x="4730453" y="538389"/>
                </a:lnTo>
                <a:cubicBezTo>
                  <a:pt x="4730453" y="623252"/>
                  <a:pt x="4698068" y="673675"/>
                  <a:pt x="4621308" y="673675"/>
                </a:cubicBezTo>
                <a:cubicBezTo>
                  <a:pt x="4544548" y="673675"/>
                  <a:pt x="4512163" y="620084"/>
                  <a:pt x="4512163" y="528194"/>
                </a:cubicBezTo>
                <a:lnTo>
                  <a:pt x="4512163" y="431207"/>
                </a:lnTo>
                <a:lnTo>
                  <a:pt x="4386894" y="462480"/>
                </a:lnTo>
                <a:lnTo>
                  <a:pt x="4386894" y="505876"/>
                </a:lnTo>
                <a:cubicBezTo>
                  <a:pt x="4386894" y="638131"/>
                  <a:pt x="4452629" y="739251"/>
                  <a:pt x="4621308" y="739251"/>
                </a:cubicBezTo>
                <a:cubicBezTo>
                  <a:pt x="4789987" y="739251"/>
                  <a:pt x="4855722" y="638269"/>
                  <a:pt x="4855722" y="505876"/>
                </a:cubicBezTo>
                <a:lnTo>
                  <a:pt x="4855722" y="15981"/>
                </a:lnTo>
                <a:moveTo>
                  <a:pt x="5609403" y="15981"/>
                </a:moveTo>
                <a:lnTo>
                  <a:pt x="5490198" y="15981"/>
                </a:lnTo>
                <a:lnTo>
                  <a:pt x="5490198" y="722995"/>
                </a:lnTo>
                <a:lnTo>
                  <a:pt x="5609403" y="722995"/>
                </a:lnTo>
                <a:lnTo>
                  <a:pt x="5609403" y="396765"/>
                </a:lnTo>
                <a:cubicBezTo>
                  <a:pt x="5609403" y="322096"/>
                  <a:pt x="5647852" y="278562"/>
                  <a:pt x="5709453" y="278562"/>
                </a:cubicBezTo>
                <a:cubicBezTo>
                  <a:pt x="5771054" y="278562"/>
                  <a:pt x="5795308" y="317963"/>
                  <a:pt x="5795308" y="377616"/>
                </a:cubicBezTo>
                <a:lnTo>
                  <a:pt x="5795308" y="722995"/>
                </a:lnTo>
                <a:lnTo>
                  <a:pt x="5914514" y="722995"/>
                </a:lnTo>
                <a:lnTo>
                  <a:pt x="5914514" y="376514"/>
                </a:lnTo>
                <a:cubicBezTo>
                  <a:pt x="5914514" y="272501"/>
                  <a:pt x="5859941" y="207889"/>
                  <a:pt x="5754930" y="207889"/>
                </a:cubicBezTo>
                <a:cubicBezTo>
                  <a:pt x="5680099" y="207889"/>
                  <a:pt x="5638756" y="240263"/>
                  <a:pt x="5615466" y="281593"/>
                </a:cubicBezTo>
                <a:lnTo>
                  <a:pt x="5609403" y="281593"/>
                </a:lnTo>
                <a:lnTo>
                  <a:pt x="5609403" y="15981"/>
                </a:lnTo>
                <a:moveTo>
                  <a:pt x="3954447" y="665409"/>
                </a:moveTo>
                <a:cubicBezTo>
                  <a:pt x="3857429" y="665409"/>
                  <a:pt x="3797895" y="586607"/>
                  <a:pt x="3797895" y="502845"/>
                </a:cubicBezTo>
                <a:cubicBezTo>
                  <a:pt x="3797895" y="450356"/>
                  <a:pt x="3821185" y="401863"/>
                  <a:pt x="3859496" y="374585"/>
                </a:cubicBezTo>
                <a:lnTo>
                  <a:pt x="4087847" y="624079"/>
                </a:lnTo>
                <a:cubicBezTo>
                  <a:pt x="4045401" y="649290"/>
                  <a:pt x="3997857" y="665546"/>
                  <a:pt x="3954447" y="665546"/>
                </a:cubicBezTo>
                <a:moveTo>
                  <a:pt x="4176734" y="541282"/>
                </a:moveTo>
                <a:lnTo>
                  <a:pt x="3978702" y="323061"/>
                </a:lnTo>
                <a:cubicBezTo>
                  <a:pt x="4014119" y="308871"/>
                  <a:pt x="4048433" y="303911"/>
                  <a:pt x="4076684" y="303911"/>
                </a:cubicBezTo>
                <a:cubicBezTo>
                  <a:pt x="4158543" y="303911"/>
                  <a:pt x="4208981" y="351440"/>
                  <a:pt x="4208981" y="433273"/>
                </a:cubicBezTo>
                <a:cubicBezTo>
                  <a:pt x="4208981" y="469643"/>
                  <a:pt x="4198922" y="506978"/>
                  <a:pt x="4176596" y="541282"/>
                </a:cubicBezTo>
                <a:moveTo>
                  <a:pt x="3951278" y="293854"/>
                </a:moveTo>
                <a:lnTo>
                  <a:pt x="3907868" y="245361"/>
                </a:lnTo>
                <a:cubicBezTo>
                  <a:pt x="3869419" y="202929"/>
                  <a:pt x="3858394" y="176616"/>
                  <a:pt x="3858394" y="145343"/>
                </a:cubicBezTo>
                <a:cubicBezTo>
                  <a:pt x="3858394" y="86792"/>
                  <a:pt x="3895740" y="53453"/>
                  <a:pt x="3954309" y="53453"/>
                </a:cubicBezTo>
                <a:cubicBezTo>
                  <a:pt x="4012879" y="53453"/>
                  <a:pt x="4049260" y="87757"/>
                  <a:pt x="4049260" y="150440"/>
                </a:cubicBezTo>
                <a:cubicBezTo>
                  <a:pt x="4049260" y="208026"/>
                  <a:pt x="4021009" y="262582"/>
                  <a:pt x="3951278" y="293854"/>
                </a:cubicBezTo>
                <a:moveTo>
                  <a:pt x="3957341" y="0"/>
                </a:moveTo>
                <a:cubicBezTo>
                  <a:pt x="3817878" y="0"/>
                  <a:pt x="3749249" y="77838"/>
                  <a:pt x="3749249" y="174687"/>
                </a:cubicBezTo>
                <a:cubicBezTo>
                  <a:pt x="3749249" y="227176"/>
                  <a:pt x="3771436" y="279802"/>
                  <a:pt x="3830143" y="343312"/>
                </a:cubicBezTo>
                <a:lnTo>
                  <a:pt x="3831108" y="345379"/>
                </a:lnTo>
                <a:cubicBezTo>
                  <a:pt x="3732160" y="392908"/>
                  <a:pt x="3686683" y="469643"/>
                  <a:pt x="3686683" y="548445"/>
                </a:cubicBezTo>
                <a:cubicBezTo>
                  <a:pt x="3686683" y="652459"/>
                  <a:pt x="3766475" y="739389"/>
                  <a:pt x="3889815" y="739389"/>
                </a:cubicBezTo>
                <a:cubicBezTo>
                  <a:pt x="3960511" y="739389"/>
                  <a:pt x="4043334" y="710045"/>
                  <a:pt x="4118165" y="657556"/>
                </a:cubicBezTo>
                <a:lnTo>
                  <a:pt x="4178801" y="723270"/>
                </a:lnTo>
                <a:lnTo>
                  <a:pt x="4337420" y="723270"/>
                </a:lnTo>
                <a:lnTo>
                  <a:pt x="4337420" y="718173"/>
                </a:lnTo>
                <a:lnTo>
                  <a:pt x="4208155" y="575723"/>
                </a:lnTo>
                <a:cubicBezTo>
                  <a:pt x="4262728" y="511111"/>
                  <a:pt x="4294011" y="440437"/>
                  <a:pt x="4294011" y="378718"/>
                </a:cubicBezTo>
                <a:cubicBezTo>
                  <a:pt x="4294011" y="301982"/>
                  <a:pt x="4242469" y="250458"/>
                  <a:pt x="4161713" y="250458"/>
                </a:cubicBezTo>
                <a:cubicBezTo>
                  <a:pt x="4119268" y="250458"/>
                  <a:pt x="4071723" y="262582"/>
                  <a:pt x="4040440" y="274705"/>
                </a:cubicBezTo>
                <a:lnTo>
                  <a:pt x="4038373" y="270710"/>
                </a:lnTo>
                <a:cubicBezTo>
                  <a:pt x="4115133" y="229242"/>
                  <a:pt x="4147518" y="190943"/>
                  <a:pt x="4147518" y="137352"/>
                </a:cubicBezTo>
                <a:cubicBezTo>
                  <a:pt x="4147518" y="60617"/>
                  <a:pt x="4078752" y="0"/>
                  <a:pt x="3957617" y="0"/>
                </a:cubicBezTo>
              </a:path>
            </a:pathLst>
          </a:custGeom>
          <a:solidFill>
            <a:schemeClr val="bg1"/>
          </a:solidFill>
          <a:ln w="1378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28850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[Accessible Version]">
    <p:bg>
      <p:bgPr>
        <a:solidFill>
          <a:srgbClr val="F6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802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341CCCF6-45D3-89EA-1171-FDB379444A5D}"/>
              </a:ext>
            </a:extLst>
          </p:cNvPr>
          <p:cNvSpPr/>
          <p:nvPr userDrawn="1"/>
        </p:nvSpPr>
        <p:spPr>
          <a:xfrm>
            <a:off x="291593" y="6373132"/>
            <a:ext cx="2032407" cy="189099"/>
          </a:xfrm>
          <a:custGeom>
            <a:avLst/>
            <a:gdLst>
              <a:gd name="connsiteX0" fmla="*/ 786066 w 7948307"/>
              <a:gd name="connsiteY0" fmla="*/ 677532 h 739526"/>
              <a:gd name="connsiteX1" fmla="*/ 664794 w 7948307"/>
              <a:gd name="connsiteY1" fmla="*/ 470470 h 739526"/>
              <a:gd name="connsiteX2" fmla="*/ 786066 w 7948307"/>
              <a:gd name="connsiteY2" fmla="*/ 263408 h 739526"/>
              <a:gd name="connsiteX3" fmla="*/ 907339 w 7948307"/>
              <a:gd name="connsiteY3" fmla="*/ 470470 h 739526"/>
              <a:gd name="connsiteX4" fmla="*/ 786066 w 7948307"/>
              <a:gd name="connsiteY4" fmla="*/ 677532 h 739526"/>
              <a:gd name="connsiteX5" fmla="*/ 786066 w 7948307"/>
              <a:gd name="connsiteY5" fmla="*/ 207889 h 739526"/>
              <a:gd name="connsiteX6" fmla="*/ 539525 w 7948307"/>
              <a:gd name="connsiteY6" fmla="*/ 470470 h 739526"/>
              <a:gd name="connsiteX7" fmla="*/ 786066 w 7948307"/>
              <a:gd name="connsiteY7" fmla="*/ 733052 h 739526"/>
              <a:gd name="connsiteX8" fmla="*/ 1032607 w 7948307"/>
              <a:gd name="connsiteY8" fmla="*/ 470470 h 739526"/>
              <a:gd name="connsiteX9" fmla="*/ 786066 w 7948307"/>
              <a:gd name="connsiteY9" fmla="*/ 207889 h 739526"/>
              <a:gd name="connsiteX10" fmla="*/ 1888405 w 7948307"/>
              <a:gd name="connsiteY10" fmla="*/ 207889 h 739526"/>
              <a:gd name="connsiteX11" fmla="*/ 1748942 w 7948307"/>
              <a:gd name="connsiteY11" fmla="*/ 281593 h 739526"/>
              <a:gd name="connsiteX12" fmla="*/ 1742878 w 7948307"/>
              <a:gd name="connsiteY12" fmla="*/ 281593 h 739526"/>
              <a:gd name="connsiteX13" fmla="*/ 1742878 w 7948307"/>
              <a:gd name="connsiteY13" fmla="*/ 217945 h 739526"/>
              <a:gd name="connsiteX14" fmla="*/ 1623673 w 7948307"/>
              <a:gd name="connsiteY14" fmla="*/ 217945 h 739526"/>
              <a:gd name="connsiteX15" fmla="*/ 1623673 w 7948307"/>
              <a:gd name="connsiteY15" fmla="*/ 722995 h 739526"/>
              <a:gd name="connsiteX16" fmla="*/ 1742878 w 7948307"/>
              <a:gd name="connsiteY16" fmla="*/ 722995 h 739526"/>
              <a:gd name="connsiteX17" fmla="*/ 1742878 w 7948307"/>
              <a:gd name="connsiteY17" fmla="*/ 396765 h 739526"/>
              <a:gd name="connsiteX18" fmla="*/ 1842928 w 7948307"/>
              <a:gd name="connsiteY18" fmla="*/ 278562 h 739526"/>
              <a:gd name="connsiteX19" fmla="*/ 1928783 w 7948307"/>
              <a:gd name="connsiteY19" fmla="*/ 377616 h 739526"/>
              <a:gd name="connsiteX20" fmla="*/ 1928783 w 7948307"/>
              <a:gd name="connsiteY20" fmla="*/ 722995 h 739526"/>
              <a:gd name="connsiteX21" fmla="*/ 2047989 w 7948307"/>
              <a:gd name="connsiteY21" fmla="*/ 722995 h 739526"/>
              <a:gd name="connsiteX22" fmla="*/ 2047989 w 7948307"/>
              <a:gd name="connsiteY22" fmla="*/ 376514 h 739526"/>
              <a:gd name="connsiteX23" fmla="*/ 1888405 w 7948307"/>
              <a:gd name="connsiteY23" fmla="*/ 207889 h 739526"/>
              <a:gd name="connsiteX24" fmla="*/ 2318785 w 7948307"/>
              <a:gd name="connsiteY24" fmla="*/ 207889 h 739526"/>
              <a:gd name="connsiteX25" fmla="*/ 2125851 w 7948307"/>
              <a:gd name="connsiteY25" fmla="*/ 353369 h 739526"/>
              <a:gd name="connsiteX26" fmla="*/ 2248089 w 7948307"/>
              <a:gd name="connsiteY26" fmla="*/ 498850 h 739526"/>
              <a:gd name="connsiteX27" fmla="*/ 2349103 w 7948307"/>
              <a:gd name="connsiteY27" fmla="*/ 524061 h 739526"/>
              <a:gd name="connsiteX28" fmla="*/ 2426965 w 7948307"/>
              <a:gd name="connsiteY28" fmla="*/ 598868 h 739526"/>
              <a:gd name="connsiteX29" fmla="*/ 2326916 w 7948307"/>
              <a:gd name="connsiteY29" fmla="*/ 679736 h 739526"/>
              <a:gd name="connsiteX30" fmla="*/ 2211707 w 7948307"/>
              <a:gd name="connsiteY30" fmla="*/ 562635 h 739526"/>
              <a:gd name="connsiteX31" fmla="*/ 2104629 w 7948307"/>
              <a:gd name="connsiteY31" fmla="*/ 592944 h 739526"/>
              <a:gd name="connsiteX32" fmla="*/ 2313824 w 7948307"/>
              <a:gd name="connsiteY32" fmla="*/ 733327 h 739526"/>
              <a:gd name="connsiteX33" fmla="*/ 2523983 w 7948307"/>
              <a:gd name="connsiteY33" fmla="*/ 568697 h 739526"/>
              <a:gd name="connsiteX34" fmla="*/ 2389619 w 7948307"/>
              <a:gd name="connsiteY34" fmla="*/ 417155 h 739526"/>
              <a:gd name="connsiteX35" fmla="*/ 2292601 w 7948307"/>
              <a:gd name="connsiteY35" fmla="*/ 392908 h 739526"/>
              <a:gd name="connsiteX36" fmla="*/ 2222869 w 7948307"/>
              <a:gd name="connsiteY36" fmla="*/ 326229 h 739526"/>
              <a:gd name="connsiteX37" fmla="*/ 2308725 w 7948307"/>
              <a:gd name="connsiteY37" fmla="*/ 261617 h 739526"/>
              <a:gd name="connsiteX38" fmla="*/ 2411806 w 7948307"/>
              <a:gd name="connsiteY38" fmla="*/ 358604 h 739526"/>
              <a:gd name="connsiteX39" fmla="*/ 2512821 w 7948307"/>
              <a:gd name="connsiteY39" fmla="*/ 328296 h 739526"/>
              <a:gd name="connsiteX40" fmla="*/ 2318785 w 7948307"/>
              <a:gd name="connsiteY40" fmla="*/ 208164 h 739526"/>
              <a:gd name="connsiteX41" fmla="*/ 2819861 w 7948307"/>
              <a:gd name="connsiteY41" fmla="*/ 677807 h 739526"/>
              <a:gd name="connsiteX42" fmla="*/ 2698588 w 7948307"/>
              <a:gd name="connsiteY42" fmla="*/ 470746 h 739526"/>
              <a:gd name="connsiteX43" fmla="*/ 2819861 w 7948307"/>
              <a:gd name="connsiteY43" fmla="*/ 263684 h 739526"/>
              <a:gd name="connsiteX44" fmla="*/ 2941133 w 7948307"/>
              <a:gd name="connsiteY44" fmla="*/ 470746 h 739526"/>
              <a:gd name="connsiteX45" fmla="*/ 2819861 w 7948307"/>
              <a:gd name="connsiteY45" fmla="*/ 677807 h 739526"/>
              <a:gd name="connsiteX46" fmla="*/ 2819861 w 7948307"/>
              <a:gd name="connsiteY46" fmla="*/ 208164 h 739526"/>
              <a:gd name="connsiteX47" fmla="*/ 2573319 w 7948307"/>
              <a:gd name="connsiteY47" fmla="*/ 470746 h 739526"/>
              <a:gd name="connsiteX48" fmla="*/ 2819861 w 7948307"/>
              <a:gd name="connsiteY48" fmla="*/ 733327 h 739526"/>
              <a:gd name="connsiteX49" fmla="*/ 3066402 w 7948307"/>
              <a:gd name="connsiteY49" fmla="*/ 470746 h 739526"/>
              <a:gd name="connsiteX50" fmla="*/ 2819861 w 7948307"/>
              <a:gd name="connsiteY50" fmla="*/ 208164 h 739526"/>
              <a:gd name="connsiteX51" fmla="*/ 3401831 w 7948307"/>
              <a:gd name="connsiteY51" fmla="*/ 208164 h 739526"/>
              <a:gd name="connsiteX52" fmla="*/ 3262367 w 7948307"/>
              <a:gd name="connsiteY52" fmla="*/ 281869 h 739526"/>
              <a:gd name="connsiteX53" fmla="*/ 3256304 w 7948307"/>
              <a:gd name="connsiteY53" fmla="*/ 281869 h 739526"/>
              <a:gd name="connsiteX54" fmla="*/ 3256304 w 7948307"/>
              <a:gd name="connsiteY54" fmla="*/ 218221 h 739526"/>
              <a:gd name="connsiteX55" fmla="*/ 3137098 w 7948307"/>
              <a:gd name="connsiteY55" fmla="*/ 218221 h 739526"/>
              <a:gd name="connsiteX56" fmla="*/ 3137098 w 7948307"/>
              <a:gd name="connsiteY56" fmla="*/ 723270 h 739526"/>
              <a:gd name="connsiteX57" fmla="*/ 3256304 w 7948307"/>
              <a:gd name="connsiteY57" fmla="*/ 723270 h 739526"/>
              <a:gd name="connsiteX58" fmla="*/ 3256304 w 7948307"/>
              <a:gd name="connsiteY58" fmla="*/ 397041 h 739526"/>
              <a:gd name="connsiteX59" fmla="*/ 3356353 w 7948307"/>
              <a:gd name="connsiteY59" fmla="*/ 278838 h 739526"/>
              <a:gd name="connsiteX60" fmla="*/ 3442209 w 7948307"/>
              <a:gd name="connsiteY60" fmla="*/ 377891 h 739526"/>
              <a:gd name="connsiteX61" fmla="*/ 3442209 w 7948307"/>
              <a:gd name="connsiteY61" fmla="*/ 723270 h 739526"/>
              <a:gd name="connsiteX62" fmla="*/ 3561414 w 7948307"/>
              <a:gd name="connsiteY62" fmla="*/ 723270 h 739526"/>
              <a:gd name="connsiteX63" fmla="*/ 3561414 w 7948307"/>
              <a:gd name="connsiteY63" fmla="*/ 376789 h 739526"/>
              <a:gd name="connsiteX64" fmla="*/ 3401831 w 7948307"/>
              <a:gd name="connsiteY64" fmla="*/ 208164 h 739526"/>
              <a:gd name="connsiteX65" fmla="*/ 5172960 w 7948307"/>
              <a:gd name="connsiteY65" fmla="*/ 677807 h 739526"/>
              <a:gd name="connsiteX66" fmla="*/ 5051688 w 7948307"/>
              <a:gd name="connsiteY66" fmla="*/ 470746 h 739526"/>
              <a:gd name="connsiteX67" fmla="*/ 5172960 w 7948307"/>
              <a:gd name="connsiteY67" fmla="*/ 263684 h 739526"/>
              <a:gd name="connsiteX68" fmla="*/ 5294232 w 7948307"/>
              <a:gd name="connsiteY68" fmla="*/ 470746 h 739526"/>
              <a:gd name="connsiteX69" fmla="*/ 5172960 w 7948307"/>
              <a:gd name="connsiteY69" fmla="*/ 677807 h 739526"/>
              <a:gd name="connsiteX70" fmla="*/ 5172960 w 7948307"/>
              <a:gd name="connsiteY70" fmla="*/ 208164 h 739526"/>
              <a:gd name="connsiteX71" fmla="*/ 4926418 w 7948307"/>
              <a:gd name="connsiteY71" fmla="*/ 470746 h 739526"/>
              <a:gd name="connsiteX72" fmla="*/ 5172960 w 7948307"/>
              <a:gd name="connsiteY72" fmla="*/ 733327 h 739526"/>
              <a:gd name="connsiteX73" fmla="*/ 5419502 w 7948307"/>
              <a:gd name="connsiteY73" fmla="*/ 470746 h 739526"/>
              <a:gd name="connsiteX74" fmla="*/ 5172960 w 7948307"/>
              <a:gd name="connsiteY74" fmla="*/ 208164 h 739526"/>
              <a:gd name="connsiteX75" fmla="*/ 6275299 w 7948307"/>
              <a:gd name="connsiteY75" fmla="*/ 208164 h 739526"/>
              <a:gd name="connsiteX76" fmla="*/ 6135836 w 7948307"/>
              <a:gd name="connsiteY76" fmla="*/ 281869 h 739526"/>
              <a:gd name="connsiteX77" fmla="*/ 6129772 w 7948307"/>
              <a:gd name="connsiteY77" fmla="*/ 281869 h 739526"/>
              <a:gd name="connsiteX78" fmla="*/ 6129772 w 7948307"/>
              <a:gd name="connsiteY78" fmla="*/ 218221 h 739526"/>
              <a:gd name="connsiteX79" fmla="*/ 6010567 w 7948307"/>
              <a:gd name="connsiteY79" fmla="*/ 218221 h 739526"/>
              <a:gd name="connsiteX80" fmla="*/ 6010567 w 7948307"/>
              <a:gd name="connsiteY80" fmla="*/ 723270 h 739526"/>
              <a:gd name="connsiteX81" fmla="*/ 6129772 w 7948307"/>
              <a:gd name="connsiteY81" fmla="*/ 723270 h 739526"/>
              <a:gd name="connsiteX82" fmla="*/ 6129772 w 7948307"/>
              <a:gd name="connsiteY82" fmla="*/ 397041 h 739526"/>
              <a:gd name="connsiteX83" fmla="*/ 6229822 w 7948307"/>
              <a:gd name="connsiteY83" fmla="*/ 278838 h 739526"/>
              <a:gd name="connsiteX84" fmla="*/ 6315677 w 7948307"/>
              <a:gd name="connsiteY84" fmla="*/ 377891 h 739526"/>
              <a:gd name="connsiteX85" fmla="*/ 6315677 w 7948307"/>
              <a:gd name="connsiteY85" fmla="*/ 723270 h 739526"/>
              <a:gd name="connsiteX86" fmla="*/ 6434883 w 7948307"/>
              <a:gd name="connsiteY86" fmla="*/ 723270 h 739526"/>
              <a:gd name="connsiteX87" fmla="*/ 6434883 w 7948307"/>
              <a:gd name="connsiteY87" fmla="*/ 376789 h 739526"/>
              <a:gd name="connsiteX88" fmla="*/ 6275299 w 7948307"/>
              <a:gd name="connsiteY88" fmla="*/ 208164 h 739526"/>
              <a:gd name="connsiteX89" fmla="*/ 6705679 w 7948307"/>
              <a:gd name="connsiteY89" fmla="*/ 208164 h 739526"/>
              <a:gd name="connsiteX90" fmla="*/ 6512746 w 7948307"/>
              <a:gd name="connsiteY90" fmla="*/ 353645 h 739526"/>
              <a:gd name="connsiteX91" fmla="*/ 6634983 w 7948307"/>
              <a:gd name="connsiteY91" fmla="*/ 499125 h 739526"/>
              <a:gd name="connsiteX92" fmla="*/ 6735996 w 7948307"/>
              <a:gd name="connsiteY92" fmla="*/ 524336 h 739526"/>
              <a:gd name="connsiteX93" fmla="*/ 6813859 w 7948307"/>
              <a:gd name="connsiteY93" fmla="*/ 599143 h 739526"/>
              <a:gd name="connsiteX94" fmla="*/ 6713809 w 7948307"/>
              <a:gd name="connsiteY94" fmla="*/ 680012 h 739526"/>
              <a:gd name="connsiteX95" fmla="*/ 6598601 w 7948307"/>
              <a:gd name="connsiteY95" fmla="*/ 562911 h 739526"/>
              <a:gd name="connsiteX96" fmla="*/ 6491522 w 7948307"/>
              <a:gd name="connsiteY96" fmla="*/ 593219 h 739526"/>
              <a:gd name="connsiteX97" fmla="*/ 6700717 w 7948307"/>
              <a:gd name="connsiteY97" fmla="*/ 733603 h 739526"/>
              <a:gd name="connsiteX98" fmla="*/ 6910877 w 7948307"/>
              <a:gd name="connsiteY98" fmla="*/ 568973 h 739526"/>
              <a:gd name="connsiteX99" fmla="*/ 6776513 w 7948307"/>
              <a:gd name="connsiteY99" fmla="*/ 417430 h 739526"/>
              <a:gd name="connsiteX100" fmla="*/ 6679495 w 7948307"/>
              <a:gd name="connsiteY100" fmla="*/ 393183 h 739526"/>
              <a:gd name="connsiteX101" fmla="*/ 6609763 w 7948307"/>
              <a:gd name="connsiteY101" fmla="*/ 326505 h 739526"/>
              <a:gd name="connsiteX102" fmla="*/ 6695618 w 7948307"/>
              <a:gd name="connsiteY102" fmla="*/ 261893 h 739526"/>
              <a:gd name="connsiteX103" fmla="*/ 6798701 w 7948307"/>
              <a:gd name="connsiteY103" fmla="*/ 358880 h 739526"/>
              <a:gd name="connsiteX104" fmla="*/ 6899714 w 7948307"/>
              <a:gd name="connsiteY104" fmla="*/ 328571 h 739526"/>
              <a:gd name="connsiteX105" fmla="*/ 6705679 w 7948307"/>
              <a:gd name="connsiteY105" fmla="*/ 208440 h 739526"/>
              <a:gd name="connsiteX106" fmla="*/ 7206755 w 7948307"/>
              <a:gd name="connsiteY106" fmla="*/ 678083 h 739526"/>
              <a:gd name="connsiteX107" fmla="*/ 7085482 w 7948307"/>
              <a:gd name="connsiteY107" fmla="*/ 471021 h 739526"/>
              <a:gd name="connsiteX108" fmla="*/ 7206755 w 7948307"/>
              <a:gd name="connsiteY108" fmla="*/ 263959 h 739526"/>
              <a:gd name="connsiteX109" fmla="*/ 7328027 w 7948307"/>
              <a:gd name="connsiteY109" fmla="*/ 471021 h 739526"/>
              <a:gd name="connsiteX110" fmla="*/ 7206755 w 7948307"/>
              <a:gd name="connsiteY110" fmla="*/ 678083 h 739526"/>
              <a:gd name="connsiteX111" fmla="*/ 7206755 w 7948307"/>
              <a:gd name="connsiteY111" fmla="*/ 208440 h 739526"/>
              <a:gd name="connsiteX112" fmla="*/ 6960213 w 7948307"/>
              <a:gd name="connsiteY112" fmla="*/ 471021 h 739526"/>
              <a:gd name="connsiteX113" fmla="*/ 7206755 w 7948307"/>
              <a:gd name="connsiteY113" fmla="*/ 733603 h 739526"/>
              <a:gd name="connsiteX114" fmla="*/ 7453296 w 7948307"/>
              <a:gd name="connsiteY114" fmla="*/ 471021 h 739526"/>
              <a:gd name="connsiteX115" fmla="*/ 7206755 w 7948307"/>
              <a:gd name="connsiteY115" fmla="*/ 208440 h 739526"/>
              <a:gd name="connsiteX116" fmla="*/ 7788724 w 7948307"/>
              <a:gd name="connsiteY116" fmla="*/ 208440 h 739526"/>
              <a:gd name="connsiteX117" fmla="*/ 7649261 w 7948307"/>
              <a:gd name="connsiteY117" fmla="*/ 282144 h 739526"/>
              <a:gd name="connsiteX118" fmla="*/ 7643197 w 7948307"/>
              <a:gd name="connsiteY118" fmla="*/ 282144 h 739526"/>
              <a:gd name="connsiteX119" fmla="*/ 7643197 w 7948307"/>
              <a:gd name="connsiteY119" fmla="*/ 218496 h 739526"/>
              <a:gd name="connsiteX120" fmla="*/ 7523992 w 7948307"/>
              <a:gd name="connsiteY120" fmla="*/ 218496 h 739526"/>
              <a:gd name="connsiteX121" fmla="*/ 7523992 w 7948307"/>
              <a:gd name="connsiteY121" fmla="*/ 723546 h 739526"/>
              <a:gd name="connsiteX122" fmla="*/ 7643197 w 7948307"/>
              <a:gd name="connsiteY122" fmla="*/ 723546 h 739526"/>
              <a:gd name="connsiteX123" fmla="*/ 7643197 w 7948307"/>
              <a:gd name="connsiteY123" fmla="*/ 397316 h 739526"/>
              <a:gd name="connsiteX124" fmla="*/ 7743247 w 7948307"/>
              <a:gd name="connsiteY124" fmla="*/ 279113 h 739526"/>
              <a:gd name="connsiteX125" fmla="*/ 7829102 w 7948307"/>
              <a:gd name="connsiteY125" fmla="*/ 378167 h 739526"/>
              <a:gd name="connsiteX126" fmla="*/ 7829102 w 7948307"/>
              <a:gd name="connsiteY126" fmla="*/ 723546 h 739526"/>
              <a:gd name="connsiteX127" fmla="*/ 7948308 w 7948307"/>
              <a:gd name="connsiteY127" fmla="*/ 723546 h 739526"/>
              <a:gd name="connsiteX128" fmla="*/ 7948308 w 7948307"/>
              <a:gd name="connsiteY128" fmla="*/ 377065 h 739526"/>
              <a:gd name="connsiteX129" fmla="*/ 7788724 w 7948307"/>
              <a:gd name="connsiteY129" fmla="*/ 208440 h 739526"/>
              <a:gd name="connsiteX130" fmla="*/ 468828 w 7948307"/>
              <a:gd name="connsiteY130" fmla="*/ 16532 h 739526"/>
              <a:gd name="connsiteX131" fmla="*/ 343559 w 7948307"/>
              <a:gd name="connsiteY131" fmla="*/ 16532 h 739526"/>
              <a:gd name="connsiteX132" fmla="*/ 343559 w 7948307"/>
              <a:gd name="connsiteY132" fmla="*/ 538664 h 739526"/>
              <a:gd name="connsiteX133" fmla="*/ 234414 w 7948307"/>
              <a:gd name="connsiteY133" fmla="*/ 673950 h 739526"/>
              <a:gd name="connsiteX134" fmla="*/ 125269 w 7948307"/>
              <a:gd name="connsiteY134" fmla="*/ 528469 h 739526"/>
              <a:gd name="connsiteX135" fmla="*/ 125269 w 7948307"/>
              <a:gd name="connsiteY135" fmla="*/ 431482 h 739526"/>
              <a:gd name="connsiteX136" fmla="*/ 0 w 7948307"/>
              <a:gd name="connsiteY136" fmla="*/ 462755 h 739526"/>
              <a:gd name="connsiteX137" fmla="*/ 0 w 7948307"/>
              <a:gd name="connsiteY137" fmla="*/ 506151 h 739526"/>
              <a:gd name="connsiteX138" fmla="*/ 234414 w 7948307"/>
              <a:gd name="connsiteY138" fmla="*/ 739527 h 739526"/>
              <a:gd name="connsiteX139" fmla="*/ 468828 w 7948307"/>
              <a:gd name="connsiteY139" fmla="*/ 506151 h 739526"/>
              <a:gd name="connsiteX140" fmla="*/ 468828 w 7948307"/>
              <a:gd name="connsiteY140" fmla="*/ 16256 h 739526"/>
              <a:gd name="connsiteX141" fmla="*/ 1222509 w 7948307"/>
              <a:gd name="connsiteY141" fmla="*/ 16256 h 739526"/>
              <a:gd name="connsiteX142" fmla="*/ 1103304 w 7948307"/>
              <a:gd name="connsiteY142" fmla="*/ 16256 h 739526"/>
              <a:gd name="connsiteX143" fmla="*/ 1103304 w 7948307"/>
              <a:gd name="connsiteY143" fmla="*/ 723270 h 739526"/>
              <a:gd name="connsiteX144" fmla="*/ 1222509 w 7948307"/>
              <a:gd name="connsiteY144" fmla="*/ 723270 h 739526"/>
              <a:gd name="connsiteX145" fmla="*/ 1222509 w 7948307"/>
              <a:gd name="connsiteY145" fmla="*/ 397041 h 739526"/>
              <a:gd name="connsiteX146" fmla="*/ 1322559 w 7948307"/>
              <a:gd name="connsiteY146" fmla="*/ 278838 h 739526"/>
              <a:gd name="connsiteX147" fmla="*/ 1408415 w 7948307"/>
              <a:gd name="connsiteY147" fmla="*/ 377891 h 739526"/>
              <a:gd name="connsiteX148" fmla="*/ 1408415 w 7948307"/>
              <a:gd name="connsiteY148" fmla="*/ 723270 h 739526"/>
              <a:gd name="connsiteX149" fmla="*/ 1527620 w 7948307"/>
              <a:gd name="connsiteY149" fmla="*/ 723270 h 739526"/>
              <a:gd name="connsiteX150" fmla="*/ 1527620 w 7948307"/>
              <a:gd name="connsiteY150" fmla="*/ 376789 h 739526"/>
              <a:gd name="connsiteX151" fmla="*/ 1368036 w 7948307"/>
              <a:gd name="connsiteY151" fmla="*/ 208164 h 739526"/>
              <a:gd name="connsiteX152" fmla="*/ 1228573 w 7948307"/>
              <a:gd name="connsiteY152" fmla="*/ 281869 h 739526"/>
              <a:gd name="connsiteX153" fmla="*/ 1222509 w 7948307"/>
              <a:gd name="connsiteY153" fmla="*/ 281869 h 739526"/>
              <a:gd name="connsiteX154" fmla="*/ 1222509 w 7948307"/>
              <a:gd name="connsiteY154" fmla="*/ 16256 h 739526"/>
              <a:gd name="connsiteX155" fmla="*/ 4855722 w 7948307"/>
              <a:gd name="connsiteY155" fmla="*/ 16256 h 739526"/>
              <a:gd name="connsiteX156" fmla="*/ 4730453 w 7948307"/>
              <a:gd name="connsiteY156" fmla="*/ 16256 h 739526"/>
              <a:gd name="connsiteX157" fmla="*/ 4730453 w 7948307"/>
              <a:gd name="connsiteY157" fmla="*/ 538389 h 739526"/>
              <a:gd name="connsiteX158" fmla="*/ 4621308 w 7948307"/>
              <a:gd name="connsiteY158" fmla="*/ 673675 h 739526"/>
              <a:gd name="connsiteX159" fmla="*/ 4512163 w 7948307"/>
              <a:gd name="connsiteY159" fmla="*/ 528194 h 739526"/>
              <a:gd name="connsiteX160" fmla="*/ 4512163 w 7948307"/>
              <a:gd name="connsiteY160" fmla="*/ 431207 h 739526"/>
              <a:gd name="connsiteX161" fmla="*/ 4386894 w 7948307"/>
              <a:gd name="connsiteY161" fmla="*/ 462480 h 739526"/>
              <a:gd name="connsiteX162" fmla="*/ 4386894 w 7948307"/>
              <a:gd name="connsiteY162" fmla="*/ 505876 h 739526"/>
              <a:gd name="connsiteX163" fmla="*/ 4621308 w 7948307"/>
              <a:gd name="connsiteY163" fmla="*/ 739251 h 739526"/>
              <a:gd name="connsiteX164" fmla="*/ 4855722 w 7948307"/>
              <a:gd name="connsiteY164" fmla="*/ 505876 h 739526"/>
              <a:gd name="connsiteX165" fmla="*/ 4855722 w 7948307"/>
              <a:gd name="connsiteY165" fmla="*/ 15981 h 739526"/>
              <a:gd name="connsiteX166" fmla="*/ 5609403 w 7948307"/>
              <a:gd name="connsiteY166" fmla="*/ 15981 h 739526"/>
              <a:gd name="connsiteX167" fmla="*/ 5490198 w 7948307"/>
              <a:gd name="connsiteY167" fmla="*/ 15981 h 739526"/>
              <a:gd name="connsiteX168" fmla="*/ 5490198 w 7948307"/>
              <a:gd name="connsiteY168" fmla="*/ 722995 h 739526"/>
              <a:gd name="connsiteX169" fmla="*/ 5609403 w 7948307"/>
              <a:gd name="connsiteY169" fmla="*/ 722995 h 739526"/>
              <a:gd name="connsiteX170" fmla="*/ 5609403 w 7948307"/>
              <a:gd name="connsiteY170" fmla="*/ 396765 h 739526"/>
              <a:gd name="connsiteX171" fmla="*/ 5709453 w 7948307"/>
              <a:gd name="connsiteY171" fmla="*/ 278562 h 739526"/>
              <a:gd name="connsiteX172" fmla="*/ 5795308 w 7948307"/>
              <a:gd name="connsiteY172" fmla="*/ 377616 h 739526"/>
              <a:gd name="connsiteX173" fmla="*/ 5795308 w 7948307"/>
              <a:gd name="connsiteY173" fmla="*/ 722995 h 739526"/>
              <a:gd name="connsiteX174" fmla="*/ 5914514 w 7948307"/>
              <a:gd name="connsiteY174" fmla="*/ 722995 h 739526"/>
              <a:gd name="connsiteX175" fmla="*/ 5914514 w 7948307"/>
              <a:gd name="connsiteY175" fmla="*/ 376514 h 739526"/>
              <a:gd name="connsiteX176" fmla="*/ 5754930 w 7948307"/>
              <a:gd name="connsiteY176" fmla="*/ 207889 h 739526"/>
              <a:gd name="connsiteX177" fmla="*/ 5615466 w 7948307"/>
              <a:gd name="connsiteY177" fmla="*/ 281593 h 739526"/>
              <a:gd name="connsiteX178" fmla="*/ 5609403 w 7948307"/>
              <a:gd name="connsiteY178" fmla="*/ 281593 h 739526"/>
              <a:gd name="connsiteX179" fmla="*/ 5609403 w 7948307"/>
              <a:gd name="connsiteY179" fmla="*/ 15981 h 739526"/>
              <a:gd name="connsiteX180" fmla="*/ 3954447 w 7948307"/>
              <a:gd name="connsiteY180" fmla="*/ 665409 h 739526"/>
              <a:gd name="connsiteX181" fmla="*/ 3797895 w 7948307"/>
              <a:gd name="connsiteY181" fmla="*/ 502845 h 739526"/>
              <a:gd name="connsiteX182" fmla="*/ 3859496 w 7948307"/>
              <a:gd name="connsiteY182" fmla="*/ 374585 h 739526"/>
              <a:gd name="connsiteX183" fmla="*/ 4087847 w 7948307"/>
              <a:gd name="connsiteY183" fmla="*/ 624079 h 739526"/>
              <a:gd name="connsiteX184" fmla="*/ 3954447 w 7948307"/>
              <a:gd name="connsiteY184" fmla="*/ 665546 h 739526"/>
              <a:gd name="connsiteX185" fmla="*/ 4176734 w 7948307"/>
              <a:gd name="connsiteY185" fmla="*/ 541282 h 739526"/>
              <a:gd name="connsiteX186" fmla="*/ 3978702 w 7948307"/>
              <a:gd name="connsiteY186" fmla="*/ 323061 h 739526"/>
              <a:gd name="connsiteX187" fmla="*/ 4076684 w 7948307"/>
              <a:gd name="connsiteY187" fmla="*/ 303911 h 739526"/>
              <a:gd name="connsiteX188" fmla="*/ 4208981 w 7948307"/>
              <a:gd name="connsiteY188" fmla="*/ 433273 h 739526"/>
              <a:gd name="connsiteX189" fmla="*/ 4176596 w 7948307"/>
              <a:gd name="connsiteY189" fmla="*/ 541282 h 739526"/>
              <a:gd name="connsiteX190" fmla="*/ 3951278 w 7948307"/>
              <a:gd name="connsiteY190" fmla="*/ 293854 h 739526"/>
              <a:gd name="connsiteX191" fmla="*/ 3907868 w 7948307"/>
              <a:gd name="connsiteY191" fmla="*/ 245361 h 739526"/>
              <a:gd name="connsiteX192" fmla="*/ 3858394 w 7948307"/>
              <a:gd name="connsiteY192" fmla="*/ 145343 h 739526"/>
              <a:gd name="connsiteX193" fmla="*/ 3954309 w 7948307"/>
              <a:gd name="connsiteY193" fmla="*/ 53453 h 739526"/>
              <a:gd name="connsiteX194" fmla="*/ 4049260 w 7948307"/>
              <a:gd name="connsiteY194" fmla="*/ 150440 h 739526"/>
              <a:gd name="connsiteX195" fmla="*/ 3951278 w 7948307"/>
              <a:gd name="connsiteY195" fmla="*/ 293854 h 739526"/>
              <a:gd name="connsiteX196" fmla="*/ 3957341 w 7948307"/>
              <a:gd name="connsiteY196" fmla="*/ 0 h 739526"/>
              <a:gd name="connsiteX197" fmla="*/ 3749249 w 7948307"/>
              <a:gd name="connsiteY197" fmla="*/ 174687 h 739526"/>
              <a:gd name="connsiteX198" fmla="*/ 3830143 w 7948307"/>
              <a:gd name="connsiteY198" fmla="*/ 343312 h 739526"/>
              <a:gd name="connsiteX199" fmla="*/ 3831108 w 7948307"/>
              <a:gd name="connsiteY199" fmla="*/ 345379 h 739526"/>
              <a:gd name="connsiteX200" fmla="*/ 3686683 w 7948307"/>
              <a:gd name="connsiteY200" fmla="*/ 548445 h 739526"/>
              <a:gd name="connsiteX201" fmla="*/ 3889815 w 7948307"/>
              <a:gd name="connsiteY201" fmla="*/ 739389 h 739526"/>
              <a:gd name="connsiteX202" fmla="*/ 4118165 w 7948307"/>
              <a:gd name="connsiteY202" fmla="*/ 657556 h 739526"/>
              <a:gd name="connsiteX203" fmla="*/ 4178801 w 7948307"/>
              <a:gd name="connsiteY203" fmla="*/ 723270 h 739526"/>
              <a:gd name="connsiteX204" fmla="*/ 4337420 w 7948307"/>
              <a:gd name="connsiteY204" fmla="*/ 723270 h 739526"/>
              <a:gd name="connsiteX205" fmla="*/ 4337420 w 7948307"/>
              <a:gd name="connsiteY205" fmla="*/ 718173 h 739526"/>
              <a:gd name="connsiteX206" fmla="*/ 4208155 w 7948307"/>
              <a:gd name="connsiteY206" fmla="*/ 575723 h 739526"/>
              <a:gd name="connsiteX207" fmla="*/ 4294011 w 7948307"/>
              <a:gd name="connsiteY207" fmla="*/ 378718 h 739526"/>
              <a:gd name="connsiteX208" fmla="*/ 4161713 w 7948307"/>
              <a:gd name="connsiteY208" fmla="*/ 250458 h 739526"/>
              <a:gd name="connsiteX209" fmla="*/ 4040440 w 7948307"/>
              <a:gd name="connsiteY209" fmla="*/ 274705 h 739526"/>
              <a:gd name="connsiteX210" fmla="*/ 4038373 w 7948307"/>
              <a:gd name="connsiteY210" fmla="*/ 270710 h 739526"/>
              <a:gd name="connsiteX211" fmla="*/ 4147518 w 7948307"/>
              <a:gd name="connsiteY211" fmla="*/ 137352 h 739526"/>
              <a:gd name="connsiteX212" fmla="*/ 3957617 w 7948307"/>
              <a:gd name="connsiteY212" fmla="*/ 0 h 739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7948307" h="739526">
                <a:moveTo>
                  <a:pt x="786066" y="677532"/>
                </a:moveTo>
                <a:cubicBezTo>
                  <a:pt x="708204" y="677532"/>
                  <a:pt x="664794" y="603827"/>
                  <a:pt x="664794" y="470470"/>
                </a:cubicBezTo>
                <a:cubicBezTo>
                  <a:pt x="664794" y="337113"/>
                  <a:pt x="708204" y="263408"/>
                  <a:pt x="786066" y="263408"/>
                </a:cubicBezTo>
                <a:cubicBezTo>
                  <a:pt x="863929" y="263408"/>
                  <a:pt x="907339" y="336148"/>
                  <a:pt x="907339" y="470470"/>
                </a:cubicBezTo>
                <a:cubicBezTo>
                  <a:pt x="907339" y="604792"/>
                  <a:pt x="863929" y="677532"/>
                  <a:pt x="786066" y="677532"/>
                </a:cubicBezTo>
                <a:moveTo>
                  <a:pt x="786066" y="207889"/>
                </a:moveTo>
                <a:cubicBezTo>
                  <a:pt x="627447" y="207889"/>
                  <a:pt x="539525" y="326091"/>
                  <a:pt x="539525" y="470470"/>
                </a:cubicBezTo>
                <a:cubicBezTo>
                  <a:pt x="539525" y="614849"/>
                  <a:pt x="627447" y="733052"/>
                  <a:pt x="786066" y="733052"/>
                </a:cubicBezTo>
                <a:cubicBezTo>
                  <a:pt x="944685" y="733052"/>
                  <a:pt x="1032607" y="614849"/>
                  <a:pt x="1032607" y="470470"/>
                </a:cubicBezTo>
                <a:cubicBezTo>
                  <a:pt x="1032607" y="326091"/>
                  <a:pt x="944685" y="207889"/>
                  <a:pt x="786066" y="207889"/>
                </a:cubicBezTo>
                <a:moveTo>
                  <a:pt x="1888405" y="207889"/>
                </a:moveTo>
                <a:cubicBezTo>
                  <a:pt x="1813575" y="207889"/>
                  <a:pt x="1772232" y="240263"/>
                  <a:pt x="1748942" y="281593"/>
                </a:cubicBezTo>
                <a:lnTo>
                  <a:pt x="1742878" y="281593"/>
                </a:lnTo>
                <a:lnTo>
                  <a:pt x="1742878" y="217945"/>
                </a:lnTo>
                <a:lnTo>
                  <a:pt x="1623673" y="217945"/>
                </a:lnTo>
                <a:lnTo>
                  <a:pt x="1623673" y="722995"/>
                </a:lnTo>
                <a:lnTo>
                  <a:pt x="1742878" y="722995"/>
                </a:lnTo>
                <a:lnTo>
                  <a:pt x="1742878" y="396765"/>
                </a:lnTo>
                <a:cubicBezTo>
                  <a:pt x="1742878" y="322096"/>
                  <a:pt x="1781327" y="278562"/>
                  <a:pt x="1842928" y="278562"/>
                </a:cubicBezTo>
                <a:cubicBezTo>
                  <a:pt x="1904529" y="278562"/>
                  <a:pt x="1928783" y="317963"/>
                  <a:pt x="1928783" y="377616"/>
                </a:cubicBezTo>
                <a:lnTo>
                  <a:pt x="1928783" y="722995"/>
                </a:lnTo>
                <a:lnTo>
                  <a:pt x="2047989" y="722995"/>
                </a:lnTo>
                <a:lnTo>
                  <a:pt x="2047989" y="376514"/>
                </a:lnTo>
                <a:cubicBezTo>
                  <a:pt x="2047989" y="272501"/>
                  <a:pt x="1993416" y="207889"/>
                  <a:pt x="1888405" y="207889"/>
                </a:cubicBezTo>
                <a:moveTo>
                  <a:pt x="2318785" y="207889"/>
                </a:moveTo>
                <a:cubicBezTo>
                  <a:pt x="2208675" y="207889"/>
                  <a:pt x="2125851" y="254316"/>
                  <a:pt x="2125851" y="353369"/>
                </a:cubicBezTo>
                <a:cubicBezTo>
                  <a:pt x="2125851" y="437269"/>
                  <a:pt x="2183456" y="482731"/>
                  <a:pt x="2248089" y="498850"/>
                </a:cubicBezTo>
                <a:lnTo>
                  <a:pt x="2349103" y="524061"/>
                </a:lnTo>
                <a:cubicBezTo>
                  <a:pt x="2402711" y="537149"/>
                  <a:pt x="2426965" y="556436"/>
                  <a:pt x="2426965" y="598868"/>
                </a:cubicBezTo>
                <a:cubicBezTo>
                  <a:pt x="2426965" y="650392"/>
                  <a:pt x="2390584" y="679736"/>
                  <a:pt x="2326916" y="679736"/>
                </a:cubicBezTo>
                <a:cubicBezTo>
                  <a:pt x="2258148" y="679736"/>
                  <a:pt x="2222869" y="646397"/>
                  <a:pt x="2211707" y="562635"/>
                </a:cubicBezTo>
                <a:lnTo>
                  <a:pt x="2104629" y="592944"/>
                </a:lnTo>
                <a:cubicBezTo>
                  <a:pt x="2110692" y="679874"/>
                  <a:pt x="2191587" y="733327"/>
                  <a:pt x="2313824" y="733327"/>
                </a:cubicBezTo>
                <a:cubicBezTo>
                  <a:pt x="2450255" y="733327"/>
                  <a:pt x="2523983" y="669679"/>
                  <a:pt x="2523983" y="568697"/>
                </a:cubicBezTo>
                <a:cubicBezTo>
                  <a:pt x="2523983" y="473776"/>
                  <a:pt x="2458248" y="434375"/>
                  <a:pt x="2389619" y="417155"/>
                </a:cubicBezTo>
                <a:lnTo>
                  <a:pt x="2292601" y="392908"/>
                </a:lnTo>
                <a:cubicBezTo>
                  <a:pt x="2244092" y="380784"/>
                  <a:pt x="2222869" y="358604"/>
                  <a:pt x="2222869" y="326229"/>
                </a:cubicBezTo>
                <a:cubicBezTo>
                  <a:pt x="2222869" y="285864"/>
                  <a:pt x="2257184" y="261617"/>
                  <a:pt x="2308725" y="261617"/>
                </a:cubicBezTo>
                <a:cubicBezTo>
                  <a:pt x="2369361" y="261617"/>
                  <a:pt x="2406707" y="294957"/>
                  <a:pt x="2411806" y="358604"/>
                </a:cubicBezTo>
                <a:lnTo>
                  <a:pt x="2512821" y="328296"/>
                </a:lnTo>
                <a:cubicBezTo>
                  <a:pt x="2500693" y="257622"/>
                  <a:pt x="2430962" y="208164"/>
                  <a:pt x="2318785" y="208164"/>
                </a:cubicBezTo>
                <a:moveTo>
                  <a:pt x="2819861" y="677807"/>
                </a:moveTo>
                <a:cubicBezTo>
                  <a:pt x="2741998" y="677807"/>
                  <a:pt x="2698588" y="604103"/>
                  <a:pt x="2698588" y="470746"/>
                </a:cubicBezTo>
                <a:cubicBezTo>
                  <a:pt x="2698588" y="337388"/>
                  <a:pt x="2741998" y="263684"/>
                  <a:pt x="2819861" y="263684"/>
                </a:cubicBezTo>
                <a:cubicBezTo>
                  <a:pt x="2897723" y="263684"/>
                  <a:pt x="2941133" y="336424"/>
                  <a:pt x="2941133" y="470746"/>
                </a:cubicBezTo>
                <a:cubicBezTo>
                  <a:pt x="2941133" y="605067"/>
                  <a:pt x="2897723" y="677807"/>
                  <a:pt x="2819861" y="677807"/>
                </a:cubicBezTo>
                <a:moveTo>
                  <a:pt x="2819861" y="208164"/>
                </a:moveTo>
                <a:cubicBezTo>
                  <a:pt x="2661242" y="208164"/>
                  <a:pt x="2573319" y="326367"/>
                  <a:pt x="2573319" y="470746"/>
                </a:cubicBezTo>
                <a:cubicBezTo>
                  <a:pt x="2573319" y="615124"/>
                  <a:pt x="2661242" y="733327"/>
                  <a:pt x="2819861" y="733327"/>
                </a:cubicBezTo>
                <a:cubicBezTo>
                  <a:pt x="2978480" y="733327"/>
                  <a:pt x="3066402" y="615124"/>
                  <a:pt x="3066402" y="470746"/>
                </a:cubicBezTo>
                <a:cubicBezTo>
                  <a:pt x="3066402" y="326367"/>
                  <a:pt x="2978480" y="208164"/>
                  <a:pt x="2819861" y="208164"/>
                </a:cubicBezTo>
                <a:moveTo>
                  <a:pt x="3401831" y="208164"/>
                </a:moveTo>
                <a:cubicBezTo>
                  <a:pt x="3327000" y="208164"/>
                  <a:pt x="3285657" y="240539"/>
                  <a:pt x="3262367" y="281869"/>
                </a:cubicBezTo>
                <a:lnTo>
                  <a:pt x="3256304" y="281869"/>
                </a:lnTo>
                <a:lnTo>
                  <a:pt x="3256304" y="218221"/>
                </a:lnTo>
                <a:lnTo>
                  <a:pt x="3137098" y="218221"/>
                </a:lnTo>
                <a:lnTo>
                  <a:pt x="3137098" y="723270"/>
                </a:lnTo>
                <a:lnTo>
                  <a:pt x="3256304" y="723270"/>
                </a:lnTo>
                <a:lnTo>
                  <a:pt x="3256304" y="397041"/>
                </a:lnTo>
                <a:cubicBezTo>
                  <a:pt x="3256304" y="322372"/>
                  <a:pt x="3294752" y="278838"/>
                  <a:pt x="3356353" y="278838"/>
                </a:cubicBezTo>
                <a:cubicBezTo>
                  <a:pt x="3417954" y="278838"/>
                  <a:pt x="3442209" y="318239"/>
                  <a:pt x="3442209" y="377891"/>
                </a:cubicBezTo>
                <a:lnTo>
                  <a:pt x="3442209" y="723270"/>
                </a:lnTo>
                <a:lnTo>
                  <a:pt x="3561414" y="723270"/>
                </a:lnTo>
                <a:lnTo>
                  <a:pt x="3561414" y="376789"/>
                </a:lnTo>
                <a:cubicBezTo>
                  <a:pt x="3561414" y="272776"/>
                  <a:pt x="3506842" y="208164"/>
                  <a:pt x="3401831" y="208164"/>
                </a:cubicBezTo>
                <a:moveTo>
                  <a:pt x="5172960" y="677807"/>
                </a:moveTo>
                <a:cubicBezTo>
                  <a:pt x="5095097" y="677807"/>
                  <a:pt x="5051688" y="604103"/>
                  <a:pt x="5051688" y="470746"/>
                </a:cubicBezTo>
                <a:cubicBezTo>
                  <a:pt x="5051688" y="337388"/>
                  <a:pt x="5095097" y="263684"/>
                  <a:pt x="5172960" y="263684"/>
                </a:cubicBezTo>
                <a:cubicBezTo>
                  <a:pt x="5250823" y="263684"/>
                  <a:pt x="5294232" y="336424"/>
                  <a:pt x="5294232" y="470746"/>
                </a:cubicBezTo>
                <a:cubicBezTo>
                  <a:pt x="5294232" y="605067"/>
                  <a:pt x="5250823" y="677807"/>
                  <a:pt x="5172960" y="677807"/>
                </a:cubicBezTo>
                <a:moveTo>
                  <a:pt x="5172960" y="208164"/>
                </a:moveTo>
                <a:cubicBezTo>
                  <a:pt x="5014341" y="208164"/>
                  <a:pt x="4926418" y="326367"/>
                  <a:pt x="4926418" y="470746"/>
                </a:cubicBezTo>
                <a:cubicBezTo>
                  <a:pt x="4926418" y="615124"/>
                  <a:pt x="5014341" y="733327"/>
                  <a:pt x="5172960" y="733327"/>
                </a:cubicBezTo>
                <a:cubicBezTo>
                  <a:pt x="5331579" y="733327"/>
                  <a:pt x="5419502" y="615124"/>
                  <a:pt x="5419502" y="470746"/>
                </a:cubicBezTo>
                <a:cubicBezTo>
                  <a:pt x="5419502" y="326367"/>
                  <a:pt x="5331579" y="208164"/>
                  <a:pt x="5172960" y="208164"/>
                </a:cubicBezTo>
                <a:moveTo>
                  <a:pt x="6275299" y="208164"/>
                </a:moveTo>
                <a:cubicBezTo>
                  <a:pt x="6200468" y="208164"/>
                  <a:pt x="6159126" y="240539"/>
                  <a:pt x="6135836" y="281869"/>
                </a:cubicBezTo>
                <a:lnTo>
                  <a:pt x="6129772" y="281869"/>
                </a:lnTo>
                <a:lnTo>
                  <a:pt x="6129772" y="218221"/>
                </a:lnTo>
                <a:lnTo>
                  <a:pt x="6010567" y="218221"/>
                </a:lnTo>
                <a:lnTo>
                  <a:pt x="6010567" y="723270"/>
                </a:lnTo>
                <a:lnTo>
                  <a:pt x="6129772" y="723270"/>
                </a:lnTo>
                <a:lnTo>
                  <a:pt x="6129772" y="397041"/>
                </a:lnTo>
                <a:cubicBezTo>
                  <a:pt x="6129772" y="322372"/>
                  <a:pt x="6168222" y="278838"/>
                  <a:pt x="6229822" y="278838"/>
                </a:cubicBezTo>
                <a:cubicBezTo>
                  <a:pt x="6291422" y="278838"/>
                  <a:pt x="6315677" y="318239"/>
                  <a:pt x="6315677" y="377891"/>
                </a:cubicBezTo>
                <a:lnTo>
                  <a:pt x="6315677" y="723270"/>
                </a:lnTo>
                <a:lnTo>
                  <a:pt x="6434883" y="723270"/>
                </a:lnTo>
                <a:lnTo>
                  <a:pt x="6434883" y="376789"/>
                </a:lnTo>
                <a:cubicBezTo>
                  <a:pt x="6434883" y="272776"/>
                  <a:pt x="6380310" y="208164"/>
                  <a:pt x="6275299" y="208164"/>
                </a:cubicBezTo>
                <a:moveTo>
                  <a:pt x="6705679" y="208164"/>
                </a:moveTo>
                <a:cubicBezTo>
                  <a:pt x="6595568" y="208164"/>
                  <a:pt x="6512746" y="254591"/>
                  <a:pt x="6512746" y="353645"/>
                </a:cubicBezTo>
                <a:cubicBezTo>
                  <a:pt x="6512746" y="437544"/>
                  <a:pt x="6570350" y="483007"/>
                  <a:pt x="6634983" y="499125"/>
                </a:cubicBezTo>
                <a:lnTo>
                  <a:pt x="6735996" y="524336"/>
                </a:lnTo>
                <a:cubicBezTo>
                  <a:pt x="6789605" y="537424"/>
                  <a:pt x="6813859" y="556711"/>
                  <a:pt x="6813859" y="599143"/>
                </a:cubicBezTo>
                <a:cubicBezTo>
                  <a:pt x="6813859" y="650668"/>
                  <a:pt x="6777477" y="680012"/>
                  <a:pt x="6713809" y="680012"/>
                </a:cubicBezTo>
                <a:cubicBezTo>
                  <a:pt x="6645042" y="680012"/>
                  <a:pt x="6609763" y="646672"/>
                  <a:pt x="6598601" y="562911"/>
                </a:cubicBezTo>
                <a:lnTo>
                  <a:pt x="6491522" y="593219"/>
                </a:lnTo>
                <a:cubicBezTo>
                  <a:pt x="6497586" y="680149"/>
                  <a:pt x="6578480" y="733603"/>
                  <a:pt x="6700717" y="733603"/>
                </a:cubicBezTo>
                <a:cubicBezTo>
                  <a:pt x="6837149" y="733603"/>
                  <a:pt x="6910877" y="669955"/>
                  <a:pt x="6910877" y="568973"/>
                </a:cubicBezTo>
                <a:cubicBezTo>
                  <a:pt x="6910877" y="474052"/>
                  <a:pt x="6845142" y="434651"/>
                  <a:pt x="6776513" y="417430"/>
                </a:cubicBezTo>
                <a:lnTo>
                  <a:pt x="6679495" y="393183"/>
                </a:lnTo>
                <a:cubicBezTo>
                  <a:pt x="6630986" y="381060"/>
                  <a:pt x="6609763" y="358880"/>
                  <a:pt x="6609763" y="326505"/>
                </a:cubicBezTo>
                <a:cubicBezTo>
                  <a:pt x="6609763" y="286140"/>
                  <a:pt x="6644078" y="261893"/>
                  <a:pt x="6695618" y="261893"/>
                </a:cubicBezTo>
                <a:cubicBezTo>
                  <a:pt x="6756255" y="261893"/>
                  <a:pt x="6793601" y="295232"/>
                  <a:pt x="6798701" y="358880"/>
                </a:cubicBezTo>
                <a:lnTo>
                  <a:pt x="6899714" y="328571"/>
                </a:lnTo>
                <a:cubicBezTo>
                  <a:pt x="6887587" y="257897"/>
                  <a:pt x="6817855" y="208440"/>
                  <a:pt x="6705679" y="208440"/>
                </a:cubicBezTo>
                <a:moveTo>
                  <a:pt x="7206755" y="678083"/>
                </a:moveTo>
                <a:cubicBezTo>
                  <a:pt x="7128892" y="678083"/>
                  <a:pt x="7085482" y="604378"/>
                  <a:pt x="7085482" y="471021"/>
                </a:cubicBezTo>
                <a:cubicBezTo>
                  <a:pt x="7085482" y="337664"/>
                  <a:pt x="7128892" y="263959"/>
                  <a:pt x="7206755" y="263959"/>
                </a:cubicBezTo>
                <a:cubicBezTo>
                  <a:pt x="7284617" y="263959"/>
                  <a:pt x="7328027" y="336700"/>
                  <a:pt x="7328027" y="471021"/>
                </a:cubicBezTo>
                <a:cubicBezTo>
                  <a:pt x="7328027" y="605343"/>
                  <a:pt x="7284617" y="678083"/>
                  <a:pt x="7206755" y="678083"/>
                </a:cubicBezTo>
                <a:moveTo>
                  <a:pt x="7206755" y="208440"/>
                </a:moveTo>
                <a:cubicBezTo>
                  <a:pt x="7048136" y="208440"/>
                  <a:pt x="6960213" y="326643"/>
                  <a:pt x="6960213" y="471021"/>
                </a:cubicBezTo>
                <a:cubicBezTo>
                  <a:pt x="6960213" y="615400"/>
                  <a:pt x="7048136" y="733603"/>
                  <a:pt x="7206755" y="733603"/>
                </a:cubicBezTo>
                <a:cubicBezTo>
                  <a:pt x="7365374" y="733603"/>
                  <a:pt x="7453296" y="615400"/>
                  <a:pt x="7453296" y="471021"/>
                </a:cubicBezTo>
                <a:cubicBezTo>
                  <a:pt x="7453296" y="326643"/>
                  <a:pt x="7365374" y="208440"/>
                  <a:pt x="7206755" y="208440"/>
                </a:cubicBezTo>
                <a:moveTo>
                  <a:pt x="7788724" y="208440"/>
                </a:moveTo>
                <a:cubicBezTo>
                  <a:pt x="7713894" y="208440"/>
                  <a:pt x="7672551" y="240815"/>
                  <a:pt x="7649261" y="282144"/>
                </a:cubicBezTo>
                <a:lnTo>
                  <a:pt x="7643197" y="282144"/>
                </a:lnTo>
                <a:lnTo>
                  <a:pt x="7643197" y="218496"/>
                </a:lnTo>
                <a:lnTo>
                  <a:pt x="7523992" y="218496"/>
                </a:lnTo>
                <a:lnTo>
                  <a:pt x="7523992" y="723546"/>
                </a:lnTo>
                <a:lnTo>
                  <a:pt x="7643197" y="723546"/>
                </a:lnTo>
                <a:lnTo>
                  <a:pt x="7643197" y="397316"/>
                </a:lnTo>
                <a:cubicBezTo>
                  <a:pt x="7643197" y="322647"/>
                  <a:pt x="7681646" y="279113"/>
                  <a:pt x="7743247" y="279113"/>
                </a:cubicBezTo>
                <a:cubicBezTo>
                  <a:pt x="7804848" y="279113"/>
                  <a:pt x="7829102" y="318514"/>
                  <a:pt x="7829102" y="378167"/>
                </a:cubicBezTo>
                <a:lnTo>
                  <a:pt x="7829102" y="723546"/>
                </a:lnTo>
                <a:lnTo>
                  <a:pt x="7948308" y="723546"/>
                </a:lnTo>
                <a:lnTo>
                  <a:pt x="7948308" y="377065"/>
                </a:lnTo>
                <a:cubicBezTo>
                  <a:pt x="7948308" y="273052"/>
                  <a:pt x="7893735" y="208440"/>
                  <a:pt x="7788724" y="208440"/>
                </a:cubicBezTo>
                <a:moveTo>
                  <a:pt x="468828" y="16532"/>
                </a:moveTo>
                <a:lnTo>
                  <a:pt x="343559" y="16532"/>
                </a:lnTo>
                <a:lnTo>
                  <a:pt x="343559" y="538664"/>
                </a:lnTo>
                <a:cubicBezTo>
                  <a:pt x="343559" y="623528"/>
                  <a:pt x="311174" y="673950"/>
                  <a:pt x="234414" y="673950"/>
                </a:cubicBezTo>
                <a:cubicBezTo>
                  <a:pt x="157654" y="673950"/>
                  <a:pt x="125269" y="620359"/>
                  <a:pt x="125269" y="528469"/>
                </a:cubicBezTo>
                <a:lnTo>
                  <a:pt x="125269" y="431482"/>
                </a:lnTo>
                <a:lnTo>
                  <a:pt x="0" y="462755"/>
                </a:lnTo>
                <a:lnTo>
                  <a:pt x="0" y="506151"/>
                </a:lnTo>
                <a:cubicBezTo>
                  <a:pt x="0" y="638406"/>
                  <a:pt x="65735" y="739527"/>
                  <a:pt x="234414" y="739527"/>
                </a:cubicBezTo>
                <a:cubicBezTo>
                  <a:pt x="403093" y="739527"/>
                  <a:pt x="468828" y="638544"/>
                  <a:pt x="468828" y="506151"/>
                </a:cubicBezTo>
                <a:lnTo>
                  <a:pt x="468828" y="16256"/>
                </a:lnTo>
                <a:moveTo>
                  <a:pt x="1222509" y="16256"/>
                </a:moveTo>
                <a:lnTo>
                  <a:pt x="1103304" y="16256"/>
                </a:lnTo>
                <a:lnTo>
                  <a:pt x="1103304" y="723270"/>
                </a:lnTo>
                <a:lnTo>
                  <a:pt x="1222509" y="723270"/>
                </a:lnTo>
                <a:lnTo>
                  <a:pt x="1222509" y="397041"/>
                </a:lnTo>
                <a:cubicBezTo>
                  <a:pt x="1222509" y="322372"/>
                  <a:pt x="1260958" y="278838"/>
                  <a:pt x="1322559" y="278838"/>
                </a:cubicBezTo>
                <a:cubicBezTo>
                  <a:pt x="1384160" y="278838"/>
                  <a:pt x="1408415" y="318239"/>
                  <a:pt x="1408415" y="377891"/>
                </a:cubicBezTo>
                <a:lnTo>
                  <a:pt x="1408415" y="723270"/>
                </a:lnTo>
                <a:lnTo>
                  <a:pt x="1527620" y="723270"/>
                </a:lnTo>
                <a:lnTo>
                  <a:pt x="1527620" y="376789"/>
                </a:lnTo>
                <a:cubicBezTo>
                  <a:pt x="1527620" y="272776"/>
                  <a:pt x="1473047" y="208164"/>
                  <a:pt x="1368036" y="208164"/>
                </a:cubicBezTo>
                <a:cubicBezTo>
                  <a:pt x="1293206" y="208164"/>
                  <a:pt x="1251863" y="240539"/>
                  <a:pt x="1228573" y="281869"/>
                </a:cubicBezTo>
                <a:lnTo>
                  <a:pt x="1222509" y="281869"/>
                </a:lnTo>
                <a:lnTo>
                  <a:pt x="1222509" y="16256"/>
                </a:lnTo>
                <a:moveTo>
                  <a:pt x="4855722" y="16256"/>
                </a:moveTo>
                <a:lnTo>
                  <a:pt x="4730453" y="16256"/>
                </a:lnTo>
                <a:lnTo>
                  <a:pt x="4730453" y="538389"/>
                </a:lnTo>
                <a:cubicBezTo>
                  <a:pt x="4730453" y="623252"/>
                  <a:pt x="4698068" y="673675"/>
                  <a:pt x="4621308" y="673675"/>
                </a:cubicBezTo>
                <a:cubicBezTo>
                  <a:pt x="4544548" y="673675"/>
                  <a:pt x="4512163" y="620084"/>
                  <a:pt x="4512163" y="528194"/>
                </a:cubicBezTo>
                <a:lnTo>
                  <a:pt x="4512163" y="431207"/>
                </a:lnTo>
                <a:lnTo>
                  <a:pt x="4386894" y="462480"/>
                </a:lnTo>
                <a:lnTo>
                  <a:pt x="4386894" y="505876"/>
                </a:lnTo>
                <a:cubicBezTo>
                  <a:pt x="4386894" y="638131"/>
                  <a:pt x="4452629" y="739251"/>
                  <a:pt x="4621308" y="739251"/>
                </a:cubicBezTo>
                <a:cubicBezTo>
                  <a:pt x="4789987" y="739251"/>
                  <a:pt x="4855722" y="638269"/>
                  <a:pt x="4855722" y="505876"/>
                </a:cubicBezTo>
                <a:lnTo>
                  <a:pt x="4855722" y="15981"/>
                </a:lnTo>
                <a:moveTo>
                  <a:pt x="5609403" y="15981"/>
                </a:moveTo>
                <a:lnTo>
                  <a:pt x="5490198" y="15981"/>
                </a:lnTo>
                <a:lnTo>
                  <a:pt x="5490198" y="722995"/>
                </a:lnTo>
                <a:lnTo>
                  <a:pt x="5609403" y="722995"/>
                </a:lnTo>
                <a:lnTo>
                  <a:pt x="5609403" y="396765"/>
                </a:lnTo>
                <a:cubicBezTo>
                  <a:pt x="5609403" y="322096"/>
                  <a:pt x="5647852" y="278562"/>
                  <a:pt x="5709453" y="278562"/>
                </a:cubicBezTo>
                <a:cubicBezTo>
                  <a:pt x="5771054" y="278562"/>
                  <a:pt x="5795308" y="317963"/>
                  <a:pt x="5795308" y="377616"/>
                </a:cubicBezTo>
                <a:lnTo>
                  <a:pt x="5795308" y="722995"/>
                </a:lnTo>
                <a:lnTo>
                  <a:pt x="5914514" y="722995"/>
                </a:lnTo>
                <a:lnTo>
                  <a:pt x="5914514" y="376514"/>
                </a:lnTo>
                <a:cubicBezTo>
                  <a:pt x="5914514" y="272501"/>
                  <a:pt x="5859941" y="207889"/>
                  <a:pt x="5754930" y="207889"/>
                </a:cubicBezTo>
                <a:cubicBezTo>
                  <a:pt x="5680099" y="207889"/>
                  <a:pt x="5638756" y="240263"/>
                  <a:pt x="5615466" y="281593"/>
                </a:cubicBezTo>
                <a:lnTo>
                  <a:pt x="5609403" y="281593"/>
                </a:lnTo>
                <a:lnTo>
                  <a:pt x="5609403" y="15981"/>
                </a:lnTo>
                <a:moveTo>
                  <a:pt x="3954447" y="665409"/>
                </a:moveTo>
                <a:cubicBezTo>
                  <a:pt x="3857429" y="665409"/>
                  <a:pt x="3797895" y="586607"/>
                  <a:pt x="3797895" y="502845"/>
                </a:cubicBezTo>
                <a:cubicBezTo>
                  <a:pt x="3797895" y="450356"/>
                  <a:pt x="3821185" y="401863"/>
                  <a:pt x="3859496" y="374585"/>
                </a:cubicBezTo>
                <a:lnTo>
                  <a:pt x="4087847" y="624079"/>
                </a:lnTo>
                <a:cubicBezTo>
                  <a:pt x="4045401" y="649290"/>
                  <a:pt x="3997857" y="665546"/>
                  <a:pt x="3954447" y="665546"/>
                </a:cubicBezTo>
                <a:moveTo>
                  <a:pt x="4176734" y="541282"/>
                </a:moveTo>
                <a:lnTo>
                  <a:pt x="3978702" y="323061"/>
                </a:lnTo>
                <a:cubicBezTo>
                  <a:pt x="4014119" y="308871"/>
                  <a:pt x="4048433" y="303911"/>
                  <a:pt x="4076684" y="303911"/>
                </a:cubicBezTo>
                <a:cubicBezTo>
                  <a:pt x="4158543" y="303911"/>
                  <a:pt x="4208981" y="351440"/>
                  <a:pt x="4208981" y="433273"/>
                </a:cubicBezTo>
                <a:cubicBezTo>
                  <a:pt x="4208981" y="469643"/>
                  <a:pt x="4198922" y="506978"/>
                  <a:pt x="4176596" y="541282"/>
                </a:cubicBezTo>
                <a:moveTo>
                  <a:pt x="3951278" y="293854"/>
                </a:moveTo>
                <a:lnTo>
                  <a:pt x="3907868" y="245361"/>
                </a:lnTo>
                <a:cubicBezTo>
                  <a:pt x="3869419" y="202929"/>
                  <a:pt x="3858394" y="176616"/>
                  <a:pt x="3858394" y="145343"/>
                </a:cubicBezTo>
                <a:cubicBezTo>
                  <a:pt x="3858394" y="86792"/>
                  <a:pt x="3895740" y="53453"/>
                  <a:pt x="3954309" y="53453"/>
                </a:cubicBezTo>
                <a:cubicBezTo>
                  <a:pt x="4012879" y="53453"/>
                  <a:pt x="4049260" y="87757"/>
                  <a:pt x="4049260" y="150440"/>
                </a:cubicBezTo>
                <a:cubicBezTo>
                  <a:pt x="4049260" y="208026"/>
                  <a:pt x="4021009" y="262582"/>
                  <a:pt x="3951278" y="293854"/>
                </a:cubicBezTo>
                <a:moveTo>
                  <a:pt x="3957341" y="0"/>
                </a:moveTo>
                <a:cubicBezTo>
                  <a:pt x="3817878" y="0"/>
                  <a:pt x="3749249" y="77838"/>
                  <a:pt x="3749249" y="174687"/>
                </a:cubicBezTo>
                <a:cubicBezTo>
                  <a:pt x="3749249" y="227176"/>
                  <a:pt x="3771436" y="279802"/>
                  <a:pt x="3830143" y="343312"/>
                </a:cubicBezTo>
                <a:lnTo>
                  <a:pt x="3831108" y="345379"/>
                </a:lnTo>
                <a:cubicBezTo>
                  <a:pt x="3732160" y="392908"/>
                  <a:pt x="3686683" y="469643"/>
                  <a:pt x="3686683" y="548445"/>
                </a:cubicBezTo>
                <a:cubicBezTo>
                  <a:pt x="3686683" y="652459"/>
                  <a:pt x="3766475" y="739389"/>
                  <a:pt x="3889815" y="739389"/>
                </a:cubicBezTo>
                <a:cubicBezTo>
                  <a:pt x="3960511" y="739389"/>
                  <a:pt x="4043334" y="710045"/>
                  <a:pt x="4118165" y="657556"/>
                </a:cubicBezTo>
                <a:lnTo>
                  <a:pt x="4178801" y="723270"/>
                </a:lnTo>
                <a:lnTo>
                  <a:pt x="4337420" y="723270"/>
                </a:lnTo>
                <a:lnTo>
                  <a:pt x="4337420" y="718173"/>
                </a:lnTo>
                <a:lnTo>
                  <a:pt x="4208155" y="575723"/>
                </a:lnTo>
                <a:cubicBezTo>
                  <a:pt x="4262728" y="511111"/>
                  <a:pt x="4294011" y="440437"/>
                  <a:pt x="4294011" y="378718"/>
                </a:cubicBezTo>
                <a:cubicBezTo>
                  <a:pt x="4294011" y="301982"/>
                  <a:pt x="4242469" y="250458"/>
                  <a:pt x="4161713" y="250458"/>
                </a:cubicBezTo>
                <a:cubicBezTo>
                  <a:pt x="4119268" y="250458"/>
                  <a:pt x="4071723" y="262582"/>
                  <a:pt x="4040440" y="274705"/>
                </a:cubicBezTo>
                <a:lnTo>
                  <a:pt x="4038373" y="270710"/>
                </a:lnTo>
                <a:cubicBezTo>
                  <a:pt x="4115133" y="229242"/>
                  <a:pt x="4147518" y="190943"/>
                  <a:pt x="4147518" y="137352"/>
                </a:cubicBezTo>
                <a:cubicBezTo>
                  <a:pt x="4147518" y="60617"/>
                  <a:pt x="4078752" y="0"/>
                  <a:pt x="3957617" y="0"/>
                </a:cubicBezTo>
              </a:path>
            </a:pathLst>
          </a:custGeom>
          <a:solidFill>
            <a:schemeClr val="tx2"/>
          </a:solidFill>
          <a:ln w="1378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3250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06B22-1DE8-7C36-14AE-7260C97F6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79" y="264244"/>
            <a:ext cx="4667383" cy="327013"/>
          </a:xfrm>
        </p:spPr>
        <p:txBody>
          <a:bodyPr>
            <a:spAutoFit/>
          </a:bodyPr>
          <a:lstStyle>
            <a:lvl1pPr>
              <a:defRPr sz="25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FC7E9F7-1405-E6D8-9042-37C2DC045B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240207"/>
            <a:ext cx="2795587" cy="717180"/>
          </a:xfrm>
        </p:spPr>
        <p:txBody>
          <a:bodyPr anchor="t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E8CDE24-BE6D-421C-9ED6-9443D70EB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240207"/>
            <a:ext cx="2795587" cy="71718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A2702702-3E11-9FDF-5B64-822892AA8E70}"/>
              </a:ext>
            </a:extLst>
          </p:cNvPr>
          <p:cNvSpPr/>
          <p:nvPr/>
        </p:nvSpPr>
        <p:spPr>
          <a:xfrm>
            <a:off x="284298" y="5510092"/>
            <a:ext cx="11615602" cy="1069665"/>
          </a:xfrm>
          <a:custGeom>
            <a:avLst/>
            <a:gdLst>
              <a:gd name="connsiteX0" fmla="*/ 1169268 w 11823056"/>
              <a:gd name="connsiteY0" fmla="*/ 997887 h 1088769"/>
              <a:gd name="connsiteX1" fmla="*/ 988876 w 11823056"/>
              <a:gd name="connsiteY1" fmla="*/ 692983 h 1088769"/>
              <a:gd name="connsiteX2" fmla="*/ 1169268 w 11823056"/>
              <a:gd name="connsiteY2" fmla="*/ 388078 h 1088769"/>
              <a:gd name="connsiteX3" fmla="*/ 1349660 w 11823056"/>
              <a:gd name="connsiteY3" fmla="*/ 692983 h 1088769"/>
              <a:gd name="connsiteX4" fmla="*/ 1169268 w 11823056"/>
              <a:gd name="connsiteY4" fmla="*/ 997887 h 1088769"/>
              <a:gd name="connsiteX5" fmla="*/ 1169268 w 11823056"/>
              <a:gd name="connsiteY5" fmla="*/ 306324 h 1088769"/>
              <a:gd name="connsiteX6" fmla="*/ 802539 w 11823056"/>
              <a:gd name="connsiteY6" fmla="*/ 692983 h 1088769"/>
              <a:gd name="connsiteX7" fmla="*/ 1169268 w 11823056"/>
              <a:gd name="connsiteY7" fmla="*/ 1079641 h 1088769"/>
              <a:gd name="connsiteX8" fmla="*/ 1535997 w 11823056"/>
              <a:gd name="connsiteY8" fmla="*/ 692983 h 1088769"/>
              <a:gd name="connsiteX9" fmla="*/ 1169268 w 11823056"/>
              <a:gd name="connsiteY9" fmla="*/ 306324 h 1088769"/>
              <a:gd name="connsiteX10" fmla="*/ 2808786 w 11823056"/>
              <a:gd name="connsiteY10" fmla="*/ 306324 h 1088769"/>
              <a:gd name="connsiteX11" fmla="*/ 2601335 w 11823056"/>
              <a:gd name="connsiteY11" fmla="*/ 414856 h 1088769"/>
              <a:gd name="connsiteX12" fmla="*/ 2592315 w 11823056"/>
              <a:gd name="connsiteY12" fmla="*/ 414856 h 1088769"/>
              <a:gd name="connsiteX13" fmla="*/ 2592315 w 11823056"/>
              <a:gd name="connsiteY13" fmla="*/ 321133 h 1088769"/>
              <a:gd name="connsiteX14" fmla="*/ 2414998 w 11823056"/>
              <a:gd name="connsiteY14" fmla="*/ 321133 h 1088769"/>
              <a:gd name="connsiteX15" fmla="*/ 2414998 w 11823056"/>
              <a:gd name="connsiteY15" fmla="*/ 1064832 h 1088769"/>
              <a:gd name="connsiteX16" fmla="*/ 2592315 w 11823056"/>
              <a:gd name="connsiteY16" fmla="*/ 1064832 h 1088769"/>
              <a:gd name="connsiteX17" fmla="*/ 2592315 w 11823056"/>
              <a:gd name="connsiteY17" fmla="*/ 584451 h 1088769"/>
              <a:gd name="connsiteX18" fmla="*/ 2741139 w 11823056"/>
              <a:gd name="connsiteY18" fmla="*/ 410393 h 1088769"/>
              <a:gd name="connsiteX19" fmla="*/ 2868848 w 11823056"/>
              <a:gd name="connsiteY19" fmla="*/ 556253 h 1088769"/>
              <a:gd name="connsiteX20" fmla="*/ 2868848 w 11823056"/>
              <a:gd name="connsiteY20" fmla="*/ 1064832 h 1088769"/>
              <a:gd name="connsiteX21" fmla="*/ 3046165 w 11823056"/>
              <a:gd name="connsiteY21" fmla="*/ 1064832 h 1088769"/>
              <a:gd name="connsiteX22" fmla="*/ 3046165 w 11823056"/>
              <a:gd name="connsiteY22" fmla="*/ 554630 h 1088769"/>
              <a:gd name="connsiteX23" fmla="*/ 2808786 w 11823056"/>
              <a:gd name="connsiteY23" fmla="*/ 306324 h 1088769"/>
              <a:gd name="connsiteX24" fmla="*/ 3448972 w 11823056"/>
              <a:gd name="connsiteY24" fmla="*/ 306324 h 1088769"/>
              <a:gd name="connsiteX25" fmla="*/ 3161985 w 11823056"/>
              <a:gd name="connsiteY25" fmla="*/ 520548 h 1088769"/>
              <a:gd name="connsiteX26" fmla="*/ 3343812 w 11823056"/>
              <a:gd name="connsiteY26" fmla="*/ 734773 h 1088769"/>
              <a:gd name="connsiteX27" fmla="*/ 3494070 w 11823056"/>
              <a:gd name="connsiteY27" fmla="*/ 771897 h 1088769"/>
              <a:gd name="connsiteX28" fmla="*/ 3609890 w 11823056"/>
              <a:gd name="connsiteY28" fmla="*/ 882052 h 1088769"/>
              <a:gd name="connsiteX29" fmla="*/ 3461067 w 11823056"/>
              <a:gd name="connsiteY29" fmla="*/ 1001133 h 1088769"/>
              <a:gd name="connsiteX30" fmla="*/ 3289694 w 11823056"/>
              <a:gd name="connsiteY30" fmla="*/ 828699 h 1088769"/>
              <a:gd name="connsiteX31" fmla="*/ 3130416 w 11823056"/>
              <a:gd name="connsiteY31" fmla="*/ 873329 h 1088769"/>
              <a:gd name="connsiteX32" fmla="*/ 3441593 w 11823056"/>
              <a:gd name="connsiteY32" fmla="*/ 1080047 h 1088769"/>
              <a:gd name="connsiteX33" fmla="*/ 3754204 w 11823056"/>
              <a:gd name="connsiteY33" fmla="*/ 837625 h 1088769"/>
              <a:gd name="connsiteX34" fmla="*/ 3554338 w 11823056"/>
              <a:gd name="connsiteY34" fmla="*/ 614474 h 1088769"/>
              <a:gd name="connsiteX35" fmla="*/ 3410024 w 11823056"/>
              <a:gd name="connsiteY35" fmla="*/ 578770 h 1088769"/>
              <a:gd name="connsiteX36" fmla="*/ 3306299 w 11823056"/>
              <a:gd name="connsiteY36" fmla="*/ 480584 h 1088769"/>
              <a:gd name="connsiteX37" fmla="*/ 3434008 w 11823056"/>
              <a:gd name="connsiteY37" fmla="*/ 385441 h 1088769"/>
              <a:gd name="connsiteX38" fmla="*/ 3587341 w 11823056"/>
              <a:gd name="connsiteY38" fmla="*/ 528257 h 1088769"/>
              <a:gd name="connsiteX39" fmla="*/ 3737599 w 11823056"/>
              <a:gd name="connsiteY39" fmla="*/ 483627 h 1088769"/>
              <a:gd name="connsiteX40" fmla="*/ 3448972 w 11823056"/>
              <a:gd name="connsiteY40" fmla="*/ 306324 h 1088769"/>
              <a:gd name="connsiteX41" fmla="*/ 4194524 w 11823056"/>
              <a:gd name="connsiteY41" fmla="*/ 997887 h 1088769"/>
              <a:gd name="connsiteX42" fmla="*/ 4014132 w 11823056"/>
              <a:gd name="connsiteY42" fmla="*/ 692983 h 1088769"/>
              <a:gd name="connsiteX43" fmla="*/ 4194524 w 11823056"/>
              <a:gd name="connsiteY43" fmla="*/ 388078 h 1088769"/>
              <a:gd name="connsiteX44" fmla="*/ 4374916 w 11823056"/>
              <a:gd name="connsiteY44" fmla="*/ 692983 h 1088769"/>
              <a:gd name="connsiteX45" fmla="*/ 4194524 w 11823056"/>
              <a:gd name="connsiteY45" fmla="*/ 997887 h 1088769"/>
              <a:gd name="connsiteX46" fmla="*/ 4194524 w 11823056"/>
              <a:gd name="connsiteY46" fmla="*/ 306324 h 1088769"/>
              <a:gd name="connsiteX47" fmla="*/ 3827796 w 11823056"/>
              <a:gd name="connsiteY47" fmla="*/ 692983 h 1088769"/>
              <a:gd name="connsiteX48" fmla="*/ 4194524 w 11823056"/>
              <a:gd name="connsiteY48" fmla="*/ 1079641 h 1088769"/>
              <a:gd name="connsiteX49" fmla="*/ 4561253 w 11823056"/>
              <a:gd name="connsiteY49" fmla="*/ 692983 h 1088769"/>
              <a:gd name="connsiteX50" fmla="*/ 4194524 w 11823056"/>
              <a:gd name="connsiteY50" fmla="*/ 306324 h 1088769"/>
              <a:gd name="connsiteX51" fmla="*/ 5060201 w 11823056"/>
              <a:gd name="connsiteY51" fmla="*/ 306324 h 1088769"/>
              <a:gd name="connsiteX52" fmla="*/ 4852750 w 11823056"/>
              <a:gd name="connsiteY52" fmla="*/ 414856 h 1088769"/>
              <a:gd name="connsiteX53" fmla="*/ 4843731 w 11823056"/>
              <a:gd name="connsiteY53" fmla="*/ 414856 h 1088769"/>
              <a:gd name="connsiteX54" fmla="*/ 4843731 w 11823056"/>
              <a:gd name="connsiteY54" fmla="*/ 321133 h 1088769"/>
              <a:gd name="connsiteX55" fmla="*/ 4666414 w 11823056"/>
              <a:gd name="connsiteY55" fmla="*/ 321133 h 1088769"/>
              <a:gd name="connsiteX56" fmla="*/ 4666414 w 11823056"/>
              <a:gd name="connsiteY56" fmla="*/ 1064832 h 1088769"/>
              <a:gd name="connsiteX57" fmla="*/ 4843731 w 11823056"/>
              <a:gd name="connsiteY57" fmla="*/ 1064832 h 1088769"/>
              <a:gd name="connsiteX58" fmla="*/ 4843731 w 11823056"/>
              <a:gd name="connsiteY58" fmla="*/ 584451 h 1088769"/>
              <a:gd name="connsiteX59" fmla="*/ 4992554 w 11823056"/>
              <a:gd name="connsiteY59" fmla="*/ 410393 h 1088769"/>
              <a:gd name="connsiteX60" fmla="*/ 5120263 w 11823056"/>
              <a:gd name="connsiteY60" fmla="*/ 556253 h 1088769"/>
              <a:gd name="connsiteX61" fmla="*/ 5120263 w 11823056"/>
              <a:gd name="connsiteY61" fmla="*/ 1064832 h 1088769"/>
              <a:gd name="connsiteX62" fmla="*/ 5297580 w 11823056"/>
              <a:gd name="connsiteY62" fmla="*/ 1064832 h 1088769"/>
              <a:gd name="connsiteX63" fmla="*/ 5297580 w 11823056"/>
              <a:gd name="connsiteY63" fmla="*/ 554630 h 1088769"/>
              <a:gd name="connsiteX64" fmla="*/ 5060201 w 11823056"/>
              <a:gd name="connsiteY64" fmla="*/ 306324 h 1088769"/>
              <a:gd name="connsiteX65" fmla="*/ 7694744 w 11823056"/>
              <a:gd name="connsiteY65" fmla="*/ 997887 h 1088769"/>
              <a:gd name="connsiteX66" fmla="*/ 7514353 w 11823056"/>
              <a:gd name="connsiteY66" fmla="*/ 692983 h 1088769"/>
              <a:gd name="connsiteX67" fmla="*/ 7694744 w 11823056"/>
              <a:gd name="connsiteY67" fmla="*/ 388078 h 1088769"/>
              <a:gd name="connsiteX68" fmla="*/ 7875136 w 11823056"/>
              <a:gd name="connsiteY68" fmla="*/ 692983 h 1088769"/>
              <a:gd name="connsiteX69" fmla="*/ 7694744 w 11823056"/>
              <a:gd name="connsiteY69" fmla="*/ 997887 h 1088769"/>
              <a:gd name="connsiteX70" fmla="*/ 7694744 w 11823056"/>
              <a:gd name="connsiteY70" fmla="*/ 306324 h 1088769"/>
              <a:gd name="connsiteX71" fmla="*/ 7328015 w 11823056"/>
              <a:gd name="connsiteY71" fmla="*/ 692983 h 1088769"/>
              <a:gd name="connsiteX72" fmla="*/ 7694744 w 11823056"/>
              <a:gd name="connsiteY72" fmla="*/ 1079641 h 1088769"/>
              <a:gd name="connsiteX73" fmla="*/ 8061473 w 11823056"/>
              <a:gd name="connsiteY73" fmla="*/ 692983 h 1088769"/>
              <a:gd name="connsiteX74" fmla="*/ 7694744 w 11823056"/>
              <a:gd name="connsiteY74" fmla="*/ 306324 h 1088769"/>
              <a:gd name="connsiteX75" fmla="*/ 9334262 w 11823056"/>
              <a:gd name="connsiteY75" fmla="*/ 306324 h 1088769"/>
              <a:gd name="connsiteX76" fmla="*/ 9126810 w 11823056"/>
              <a:gd name="connsiteY76" fmla="*/ 414856 h 1088769"/>
              <a:gd name="connsiteX77" fmla="*/ 9117791 w 11823056"/>
              <a:gd name="connsiteY77" fmla="*/ 414856 h 1088769"/>
              <a:gd name="connsiteX78" fmla="*/ 9117791 w 11823056"/>
              <a:gd name="connsiteY78" fmla="*/ 321133 h 1088769"/>
              <a:gd name="connsiteX79" fmla="*/ 8940474 w 11823056"/>
              <a:gd name="connsiteY79" fmla="*/ 321133 h 1088769"/>
              <a:gd name="connsiteX80" fmla="*/ 8940474 w 11823056"/>
              <a:gd name="connsiteY80" fmla="*/ 1064832 h 1088769"/>
              <a:gd name="connsiteX81" fmla="*/ 9117791 w 11823056"/>
              <a:gd name="connsiteY81" fmla="*/ 1064832 h 1088769"/>
              <a:gd name="connsiteX82" fmla="*/ 9117791 w 11823056"/>
              <a:gd name="connsiteY82" fmla="*/ 584451 h 1088769"/>
              <a:gd name="connsiteX83" fmla="*/ 9266614 w 11823056"/>
              <a:gd name="connsiteY83" fmla="*/ 410393 h 1088769"/>
              <a:gd name="connsiteX84" fmla="*/ 9394324 w 11823056"/>
              <a:gd name="connsiteY84" fmla="*/ 556253 h 1088769"/>
              <a:gd name="connsiteX85" fmla="*/ 9394324 w 11823056"/>
              <a:gd name="connsiteY85" fmla="*/ 1064832 h 1088769"/>
              <a:gd name="connsiteX86" fmla="*/ 9571641 w 11823056"/>
              <a:gd name="connsiteY86" fmla="*/ 1064832 h 1088769"/>
              <a:gd name="connsiteX87" fmla="*/ 9571641 w 11823056"/>
              <a:gd name="connsiteY87" fmla="*/ 554630 h 1088769"/>
              <a:gd name="connsiteX88" fmla="*/ 9334262 w 11823056"/>
              <a:gd name="connsiteY88" fmla="*/ 306324 h 1088769"/>
              <a:gd name="connsiteX89" fmla="*/ 9974653 w 11823056"/>
              <a:gd name="connsiteY89" fmla="*/ 306324 h 1088769"/>
              <a:gd name="connsiteX90" fmla="*/ 9687666 w 11823056"/>
              <a:gd name="connsiteY90" fmla="*/ 520548 h 1088769"/>
              <a:gd name="connsiteX91" fmla="*/ 9869493 w 11823056"/>
              <a:gd name="connsiteY91" fmla="*/ 734773 h 1088769"/>
              <a:gd name="connsiteX92" fmla="*/ 10019751 w 11823056"/>
              <a:gd name="connsiteY92" fmla="*/ 771897 h 1088769"/>
              <a:gd name="connsiteX93" fmla="*/ 10135571 w 11823056"/>
              <a:gd name="connsiteY93" fmla="*/ 882052 h 1088769"/>
              <a:gd name="connsiteX94" fmla="*/ 9986747 w 11823056"/>
              <a:gd name="connsiteY94" fmla="*/ 1001133 h 1088769"/>
              <a:gd name="connsiteX95" fmla="*/ 9815375 w 11823056"/>
              <a:gd name="connsiteY95" fmla="*/ 828699 h 1088769"/>
              <a:gd name="connsiteX96" fmla="*/ 9656097 w 11823056"/>
              <a:gd name="connsiteY96" fmla="*/ 873329 h 1088769"/>
              <a:gd name="connsiteX97" fmla="*/ 9967273 w 11823056"/>
              <a:gd name="connsiteY97" fmla="*/ 1080047 h 1088769"/>
              <a:gd name="connsiteX98" fmla="*/ 10279884 w 11823056"/>
              <a:gd name="connsiteY98" fmla="*/ 837625 h 1088769"/>
              <a:gd name="connsiteX99" fmla="*/ 10080018 w 11823056"/>
              <a:gd name="connsiteY99" fmla="*/ 614474 h 1088769"/>
              <a:gd name="connsiteX100" fmla="*/ 9935705 w 11823056"/>
              <a:gd name="connsiteY100" fmla="*/ 578770 h 1088769"/>
              <a:gd name="connsiteX101" fmla="*/ 9831980 w 11823056"/>
              <a:gd name="connsiteY101" fmla="*/ 480584 h 1088769"/>
              <a:gd name="connsiteX102" fmla="*/ 9959688 w 11823056"/>
              <a:gd name="connsiteY102" fmla="*/ 385441 h 1088769"/>
              <a:gd name="connsiteX103" fmla="*/ 10113022 w 11823056"/>
              <a:gd name="connsiteY103" fmla="*/ 528257 h 1088769"/>
              <a:gd name="connsiteX104" fmla="*/ 10263280 w 11823056"/>
              <a:gd name="connsiteY104" fmla="*/ 483627 h 1088769"/>
              <a:gd name="connsiteX105" fmla="*/ 9974653 w 11823056"/>
              <a:gd name="connsiteY105" fmla="*/ 306324 h 1088769"/>
              <a:gd name="connsiteX106" fmla="*/ 10720000 w 11823056"/>
              <a:gd name="connsiteY106" fmla="*/ 997887 h 1088769"/>
              <a:gd name="connsiteX107" fmla="*/ 10539607 w 11823056"/>
              <a:gd name="connsiteY107" fmla="*/ 692983 h 1088769"/>
              <a:gd name="connsiteX108" fmla="*/ 10720000 w 11823056"/>
              <a:gd name="connsiteY108" fmla="*/ 388078 h 1088769"/>
              <a:gd name="connsiteX109" fmla="*/ 10900392 w 11823056"/>
              <a:gd name="connsiteY109" fmla="*/ 692983 h 1088769"/>
              <a:gd name="connsiteX110" fmla="*/ 10720000 w 11823056"/>
              <a:gd name="connsiteY110" fmla="*/ 997887 h 1088769"/>
              <a:gd name="connsiteX111" fmla="*/ 10720000 w 11823056"/>
              <a:gd name="connsiteY111" fmla="*/ 306324 h 1088769"/>
              <a:gd name="connsiteX112" fmla="*/ 10353271 w 11823056"/>
              <a:gd name="connsiteY112" fmla="*/ 692983 h 1088769"/>
              <a:gd name="connsiteX113" fmla="*/ 10720000 w 11823056"/>
              <a:gd name="connsiteY113" fmla="*/ 1079641 h 1088769"/>
              <a:gd name="connsiteX114" fmla="*/ 11086728 w 11823056"/>
              <a:gd name="connsiteY114" fmla="*/ 692983 h 1088769"/>
              <a:gd name="connsiteX115" fmla="*/ 10720000 w 11823056"/>
              <a:gd name="connsiteY115" fmla="*/ 306324 h 1088769"/>
              <a:gd name="connsiteX116" fmla="*/ 11585677 w 11823056"/>
              <a:gd name="connsiteY116" fmla="*/ 306324 h 1088769"/>
              <a:gd name="connsiteX117" fmla="*/ 11378226 w 11823056"/>
              <a:gd name="connsiteY117" fmla="*/ 414856 h 1088769"/>
              <a:gd name="connsiteX118" fmla="*/ 11369206 w 11823056"/>
              <a:gd name="connsiteY118" fmla="*/ 414856 h 1088769"/>
              <a:gd name="connsiteX119" fmla="*/ 11369206 w 11823056"/>
              <a:gd name="connsiteY119" fmla="*/ 321133 h 1088769"/>
              <a:gd name="connsiteX120" fmla="*/ 11191889 w 11823056"/>
              <a:gd name="connsiteY120" fmla="*/ 321133 h 1088769"/>
              <a:gd name="connsiteX121" fmla="*/ 11191889 w 11823056"/>
              <a:gd name="connsiteY121" fmla="*/ 1064832 h 1088769"/>
              <a:gd name="connsiteX122" fmla="*/ 11369206 w 11823056"/>
              <a:gd name="connsiteY122" fmla="*/ 1064832 h 1088769"/>
              <a:gd name="connsiteX123" fmla="*/ 11369206 w 11823056"/>
              <a:gd name="connsiteY123" fmla="*/ 584451 h 1088769"/>
              <a:gd name="connsiteX124" fmla="*/ 11518030 w 11823056"/>
              <a:gd name="connsiteY124" fmla="*/ 410393 h 1088769"/>
              <a:gd name="connsiteX125" fmla="*/ 11645739 w 11823056"/>
              <a:gd name="connsiteY125" fmla="*/ 556253 h 1088769"/>
              <a:gd name="connsiteX126" fmla="*/ 11645739 w 11823056"/>
              <a:gd name="connsiteY126" fmla="*/ 1064832 h 1088769"/>
              <a:gd name="connsiteX127" fmla="*/ 11823056 w 11823056"/>
              <a:gd name="connsiteY127" fmla="*/ 1064832 h 1088769"/>
              <a:gd name="connsiteX128" fmla="*/ 11823056 w 11823056"/>
              <a:gd name="connsiteY128" fmla="*/ 554630 h 1088769"/>
              <a:gd name="connsiteX129" fmla="*/ 11585677 w 11823056"/>
              <a:gd name="connsiteY129" fmla="*/ 306324 h 1088769"/>
              <a:gd name="connsiteX130" fmla="*/ 697379 w 11823056"/>
              <a:gd name="connsiteY130" fmla="*/ 23735 h 1088769"/>
              <a:gd name="connsiteX131" fmla="*/ 511042 w 11823056"/>
              <a:gd name="connsiteY131" fmla="*/ 23735 h 1088769"/>
              <a:gd name="connsiteX132" fmla="*/ 511042 w 11823056"/>
              <a:gd name="connsiteY132" fmla="*/ 792589 h 1088769"/>
              <a:gd name="connsiteX133" fmla="*/ 348690 w 11823056"/>
              <a:gd name="connsiteY133" fmla="*/ 991801 h 1088769"/>
              <a:gd name="connsiteX134" fmla="*/ 186337 w 11823056"/>
              <a:gd name="connsiteY134" fmla="*/ 777577 h 1088769"/>
              <a:gd name="connsiteX135" fmla="*/ 186337 w 11823056"/>
              <a:gd name="connsiteY135" fmla="*/ 634761 h 1088769"/>
              <a:gd name="connsiteX136" fmla="*/ 0 w 11823056"/>
              <a:gd name="connsiteY136" fmla="*/ 680811 h 1088769"/>
              <a:gd name="connsiteX137" fmla="*/ 0 w 11823056"/>
              <a:gd name="connsiteY137" fmla="*/ 744713 h 1088769"/>
              <a:gd name="connsiteX138" fmla="*/ 348690 w 11823056"/>
              <a:gd name="connsiteY138" fmla="*/ 1088364 h 1088769"/>
              <a:gd name="connsiteX139" fmla="*/ 697379 w 11823056"/>
              <a:gd name="connsiteY139" fmla="*/ 744713 h 1088769"/>
              <a:gd name="connsiteX140" fmla="*/ 697379 w 11823056"/>
              <a:gd name="connsiteY140" fmla="*/ 23735 h 1088769"/>
              <a:gd name="connsiteX141" fmla="*/ 1818474 w 11823056"/>
              <a:gd name="connsiteY141" fmla="*/ 23735 h 1088769"/>
              <a:gd name="connsiteX142" fmla="*/ 1641157 w 11823056"/>
              <a:gd name="connsiteY142" fmla="*/ 23735 h 1088769"/>
              <a:gd name="connsiteX143" fmla="*/ 1641157 w 11823056"/>
              <a:gd name="connsiteY143" fmla="*/ 1064832 h 1088769"/>
              <a:gd name="connsiteX144" fmla="*/ 1818474 w 11823056"/>
              <a:gd name="connsiteY144" fmla="*/ 1064832 h 1088769"/>
              <a:gd name="connsiteX145" fmla="*/ 1818474 w 11823056"/>
              <a:gd name="connsiteY145" fmla="*/ 584451 h 1088769"/>
              <a:gd name="connsiteX146" fmla="*/ 1967298 w 11823056"/>
              <a:gd name="connsiteY146" fmla="*/ 410393 h 1088769"/>
              <a:gd name="connsiteX147" fmla="*/ 2095007 w 11823056"/>
              <a:gd name="connsiteY147" fmla="*/ 556253 h 1088769"/>
              <a:gd name="connsiteX148" fmla="*/ 2095007 w 11823056"/>
              <a:gd name="connsiteY148" fmla="*/ 1064832 h 1088769"/>
              <a:gd name="connsiteX149" fmla="*/ 2272324 w 11823056"/>
              <a:gd name="connsiteY149" fmla="*/ 1064832 h 1088769"/>
              <a:gd name="connsiteX150" fmla="*/ 2272324 w 11823056"/>
              <a:gd name="connsiteY150" fmla="*/ 554630 h 1088769"/>
              <a:gd name="connsiteX151" fmla="*/ 2034945 w 11823056"/>
              <a:gd name="connsiteY151" fmla="*/ 306324 h 1088769"/>
              <a:gd name="connsiteX152" fmla="*/ 1827494 w 11823056"/>
              <a:gd name="connsiteY152" fmla="*/ 414856 h 1088769"/>
              <a:gd name="connsiteX153" fmla="*/ 1818474 w 11823056"/>
              <a:gd name="connsiteY153" fmla="*/ 414856 h 1088769"/>
              <a:gd name="connsiteX154" fmla="*/ 1818474 w 11823056"/>
              <a:gd name="connsiteY154" fmla="*/ 23735 h 1088769"/>
              <a:gd name="connsiteX155" fmla="*/ 7222855 w 11823056"/>
              <a:gd name="connsiteY155" fmla="*/ 23735 h 1088769"/>
              <a:gd name="connsiteX156" fmla="*/ 7036518 w 11823056"/>
              <a:gd name="connsiteY156" fmla="*/ 23735 h 1088769"/>
              <a:gd name="connsiteX157" fmla="*/ 7036518 w 11823056"/>
              <a:gd name="connsiteY157" fmla="*/ 792589 h 1088769"/>
              <a:gd name="connsiteX158" fmla="*/ 6874166 w 11823056"/>
              <a:gd name="connsiteY158" fmla="*/ 991801 h 1088769"/>
              <a:gd name="connsiteX159" fmla="*/ 6711813 w 11823056"/>
              <a:gd name="connsiteY159" fmla="*/ 777577 h 1088769"/>
              <a:gd name="connsiteX160" fmla="*/ 6711813 w 11823056"/>
              <a:gd name="connsiteY160" fmla="*/ 634761 h 1088769"/>
              <a:gd name="connsiteX161" fmla="*/ 6525476 w 11823056"/>
              <a:gd name="connsiteY161" fmla="*/ 680811 h 1088769"/>
              <a:gd name="connsiteX162" fmla="*/ 6525476 w 11823056"/>
              <a:gd name="connsiteY162" fmla="*/ 744713 h 1088769"/>
              <a:gd name="connsiteX163" fmla="*/ 6874166 w 11823056"/>
              <a:gd name="connsiteY163" fmla="*/ 1088364 h 1088769"/>
              <a:gd name="connsiteX164" fmla="*/ 7222855 w 11823056"/>
              <a:gd name="connsiteY164" fmla="*/ 744713 h 1088769"/>
              <a:gd name="connsiteX165" fmla="*/ 7222855 w 11823056"/>
              <a:gd name="connsiteY165" fmla="*/ 23735 h 1088769"/>
              <a:gd name="connsiteX166" fmla="*/ 8343950 w 11823056"/>
              <a:gd name="connsiteY166" fmla="*/ 23735 h 1088769"/>
              <a:gd name="connsiteX167" fmla="*/ 8166633 w 11823056"/>
              <a:gd name="connsiteY167" fmla="*/ 23735 h 1088769"/>
              <a:gd name="connsiteX168" fmla="*/ 8166633 w 11823056"/>
              <a:gd name="connsiteY168" fmla="*/ 1064832 h 1088769"/>
              <a:gd name="connsiteX169" fmla="*/ 8343950 w 11823056"/>
              <a:gd name="connsiteY169" fmla="*/ 1064832 h 1088769"/>
              <a:gd name="connsiteX170" fmla="*/ 8343950 w 11823056"/>
              <a:gd name="connsiteY170" fmla="*/ 584451 h 1088769"/>
              <a:gd name="connsiteX171" fmla="*/ 8492774 w 11823056"/>
              <a:gd name="connsiteY171" fmla="*/ 410393 h 1088769"/>
              <a:gd name="connsiteX172" fmla="*/ 8620483 w 11823056"/>
              <a:gd name="connsiteY172" fmla="*/ 556253 h 1088769"/>
              <a:gd name="connsiteX173" fmla="*/ 8620483 w 11823056"/>
              <a:gd name="connsiteY173" fmla="*/ 1064832 h 1088769"/>
              <a:gd name="connsiteX174" fmla="*/ 8797800 w 11823056"/>
              <a:gd name="connsiteY174" fmla="*/ 1064832 h 1088769"/>
              <a:gd name="connsiteX175" fmla="*/ 8797800 w 11823056"/>
              <a:gd name="connsiteY175" fmla="*/ 554630 h 1088769"/>
              <a:gd name="connsiteX176" fmla="*/ 8560421 w 11823056"/>
              <a:gd name="connsiteY176" fmla="*/ 306324 h 1088769"/>
              <a:gd name="connsiteX177" fmla="*/ 8352970 w 11823056"/>
              <a:gd name="connsiteY177" fmla="*/ 414856 h 1088769"/>
              <a:gd name="connsiteX178" fmla="*/ 8343950 w 11823056"/>
              <a:gd name="connsiteY178" fmla="*/ 414856 h 1088769"/>
              <a:gd name="connsiteX179" fmla="*/ 8343950 w 11823056"/>
              <a:gd name="connsiteY179" fmla="*/ 23735 h 1088769"/>
              <a:gd name="connsiteX180" fmla="*/ 5882214 w 11823056"/>
              <a:gd name="connsiteY180" fmla="*/ 980035 h 1088769"/>
              <a:gd name="connsiteX181" fmla="*/ 5649345 w 11823056"/>
              <a:gd name="connsiteY181" fmla="*/ 740656 h 1088769"/>
              <a:gd name="connsiteX182" fmla="*/ 5740976 w 11823056"/>
              <a:gd name="connsiteY182" fmla="*/ 551790 h 1088769"/>
              <a:gd name="connsiteX183" fmla="*/ 6080646 w 11823056"/>
              <a:gd name="connsiteY183" fmla="*/ 919176 h 1088769"/>
              <a:gd name="connsiteX184" fmla="*/ 5882214 w 11823056"/>
              <a:gd name="connsiteY184" fmla="*/ 980035 h 1088769"/>
              <a:gd name="connsiteX185" fmla="*/ 6212865 w 11823056"/>
              <a:gd name="connsiteY185" fmla="*/ 797052 h 1088769"/>
              <a:gd name="connsiteX186" fmla="*/ 5918293 w 11823056"/>
              <a:gd name="connsiteY186" fmla="*/ 475716 h 1088769"/>
              <a:gd name="connsiteX187" fmla="*/ 6064042 w 11823056"/>
              <a:gd name="connsiteY187" fmla="*/ 447518 h 1088769"/>
              <a:gd name="connsiteX188" fmla="*/ 6260833 w 11823056"/>
              <a:gd name="connsiteY188" fmla="*/ 638007 h 1088769"/>
              <a:gd name="connsiteX189" fmla="*/ 6212865 w 11823056"/>
              <a:gd name="connsiteY189" fmla="*/ 797052 h 1088769"/>
              <a:gd name="connsiteX190" fmla="*/ 5877705 w 11823056"/>
              <a:gd name="connsiteY190" fmla="*/ 432708 h 1088769"/>
              <a:gd name="connsiteX191" fmla="*/ 5813132 w 11823056"/>
              <a:gd name="connsiteY191" fmla="*/ 361300 h 1088769"/>
              <a:gd name="connsiteX192" fmla="*/ 5739541 w 11823056"/>
              <a:gd name="connsiteY192" fmla="*/ 214021 h 1088769"/>
              <a:gd name="connsiteX193" fmla="*/ 5882214 w 11823056"/>
              <a:gd name="connsiteY193" fmla="*/ 78711 h 1088769"/>
              <a:gd name="connsiteX194" fmla="*/ 6023453 w 11823056"/>
              <a:gd name="connsiteY194" fmla="*/ 221527 h 1088769"/>
              <a:gd name="connsiteX195" fmla="*/ 5877705 w 11823056"/>
              <a:gd name="connsiteY195" fmla="*/ 432708 h 1088769"/>
              <a:gd name="connsiteX196" fmla="*/ 5886724 w 11823056"/>
              <a:gd name="connsiteY196" fmla="*/ 0 h 1088769"/>
              <a:gd name="connsiteX197" fmla="*/ 5577188 w 11823056"/>
              <a:gd name="connsiteY197" fmla="*/ 257231 h 1088769"/>
              <a:gd name="connsiteX198" fmla="*/ 5697518 w 11823056"/>
              <a:gd name="connsiteY198" fmla="*/ 505537 h 1088769"/>
              <a:gd name="connsiteX199" fmla="*/ 5698952 w 11823056"/>
              <a:gd name="connsiteY199" fmla="*/ 508580 h 1088769"/>
              <a:gd name="connsiteX200" fmla="*/ 5484122 w 11823056"/>
              <a:gd name="connsiteY200" fmla="*/ 807601 h 1088769"/>
              <a:gd name="connsiteX201" fmla="*/ 5786279 w 11823056"/>
              <a:gd name="connsiteY201" fmla="*/ 1088770 h 1088769"/>
              <a:gd name="connsiteX202" fmla="*/ 6125949 w 11823056"/>
              <a:gd name="connsiteY202" fmla="*/ 968269 h 1088769"/>
              <a:gd name="connsiteX203" fmla="*/ 6216145 w 11823056"/>
              <a:gd name="connsiteY203" fmla="*/ 1065035 h 1088769"/>
              <a:gd name="connsiteX204" fmla="*/ 6452089 w 11823056"/>
              <a:gd name="connsiteY204" fmla="*/ 1065035 h 1088769"/>
              <a:gd name="connsiteX205" fmla="*/ 6452089 w 11823056"/>
              <a:gd name="connsiteY205" fmla="*/ 1057529 h 1088769"/>
              <a:gd name="connsiteX206" fmla="*/ 6259808 w 11823056"/>
              <a:gd name="connsiteY206" fmla="*/ 847768 h 1088769"/>
              <a:gd name="connsiteX207" fmla="*/ 6387517 w 11823056"/>
              <a:gd name="connsiteY207" fmla="*/ 557673 h 1088769"/>
              <a:gd name="connsiteX208" fmla="*/ 6190726 w 11823056"/>
              <a:gd name="connsiteY208" fmla="*/ 368806 h 1088769"/>
              <a:gd name="connsiteX209" fmla="*/ 6010334 w 11823056"/>
              <a:gd name="connsiteY209" fmla="*/ 404510 h 1088769"/>
              <a:gd name="connsiteX210" fmla="*/ 6007259 w 11823056"/>
              <a:gd name="connsiteY210" fmla="*/ 398627 h 1088769"/>
              <a:gd name="connsiteX211" fmla="*/ 6169612 w 11823056"/>
              <a:gd name="connsiteY211" fmla="*/ 202255 h 1088769"/>
              <a:gd name="connsiteX212" fmla="*/ 5886724 w 11823056"/>
              <a:gd name="connsiteY212" fmla="*/ 0 h 1088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11823056" h="1088769">
                <a:moveTo>
                  <a:pt x="1169268" y="997887"/>
                </a:moveTo>
                <a:cubicBezTo>
                  <a:pt x="1053448" y="997887"/>
                  <a:pt x="988876" y="889355"/>
                  <a:pt x="988876" y="692983"/>
                </a:cubicBezTo>
                <a:cubicBezTo>
                  <a:pt x="988876" y="493568"/>
                  <a:pt x="1053448" y="388078"/>
                  <a:pt x="1169268" y="388078"/>
                </a:cubicBezTo>
                <a:cubicBezTo>
                  <a:pt x="1285088" y="388078"/>
                  <a:pt x="1349660" y="495191"/>
                  <a:pt x="1349660" y="692983"/>
                </a:cubicBezTo>
                <a:cubicBezTo>
                  <a:pt x="1349455" y="892398"/>
                  <a:pt x="1284883" y="997887"/>
                  <a:pt x="1169268" y="997887"/>
                </a:cubicBezTo>
                <a:moveTo>
                  <a:pt x="1169268" y="306324"/>
                </a:moveTo>
                <a:cubicBezTo>
                  <a:pt x="933324" y="306324"/>
                  <a:pt x="802539" y="480381"/>
                  <a:pt x="802539" y="692983"/>
                </a:cubicBezTo>
                <a:cubicBezTo>
                  <a:pt x="802539" y="905584"/>
                  <a:pt x="933324" y="1079641"/>
                  <a:pt x="1169268" y="1079641"/>
                </a:cubicBezTo>
                <a:cubicBezTo>
                  <a:pt x="1405213" y="1079641"/>
                  <a:pt x="1535997" y="905584"/>
                  <a:pt x="1535997" y="692983"/>
                </a:cubicBezTo>
                <a:cubicBezTo>
                  <a:pt x="1535997" y="480381"/>
                  <a:pt x="1405213" y="306324"/>
                  <a:pt x="1169268" y="306324"/>
                </a:cubicBezTo>
                <a:moveTo>
                  <a:pt x="2808786" y="306324"/>
                </a:moveTo>
                <a:cubicBezTo>
                  <a:pt x="2697476" y="306324"/>
                  <a:pt x="2635978" y="353997"/>
                  <a:pt x="2601335" y="414856"/>
                </a:cubicBezTo>
                <a:lnTo>
                  <a:pt x="2592315" y="414856"/>
                </a:lnTo>
                <a:lnTo>
                  <a:pt x="2592315" y="321133"/>
                </a:lnTo>
                <a:lnTo>
                  <a:pt x="2414998" y="321133"/>
                </a:lnTo>
                <a:lnTo>
                  <a:pt x="2414998" y="1064832"/>
                </a:lnTo>
                <a:lnTo>
                  <a:pt x="2592315" y="1064832"/>
                </a:lnTo>
                <a:lnTo>
                  <a:pt x="2592315" y="584451"/>
                </a:lnTo>
                <a:cubicBezTo>
                  <a:pt x="2592315" y="474498"/>
                  <a:pt x="2649508" y="410393"/>
                  <a:pt x="2741139" y="410393"/>
                </a:cubicBezTo>
                <a:cubicBezTo>
                  <a:pt x="2829900" y="410393"/>
                  <a:pt x="2868848" y="468413"/>
                  <a:pt x="2868848" y="556253"/>
                </a:cubicBezTo>
                <a:lnTo>
                  <a:pt x="2868848" y="1064832"/>
                </a:lnTo>
                <a:lnTo>
                  <a:pt x="3046165" y="1064832"/>
                </a:lnTo>
                <a:lnTo>
                  <a:pt x="3046165" y="554630"/>
                </a:lnTo>
                <a:cubicBezTo>
                  <a:pt x="3046370" y="401467"/>
                  <a:pt x="2965194" y="306324"/>
                  <a:pt x="2808786" y="306324"/>
                </a:cubicBezTo>
                <a:moveTo>
                  <a:pt x="3448972" y="306324"/>
                </a:moveTo>
                <a:cubicBezTo>
                  <a:pt x="3285185" y="306324"/>
                  <a:pt x="3161985" y="374689"/>
                  <a:pt x="3161985" y="520548"/>
                </a:cubicBezTo>
                <a:cubicBezTo>
                  <a:pt x="3161985" y="644093"/>
                  <a:pt x="3247671" y="711038"/>
                  <a:pt x="3343812" y="734773"/>
                </a:cubicBezTo>
                <a:lnTo>
                  <a:pt x="3494070" y="771897"/>
                </a:lnTo>
                <a:cubicBezTo>
                  <a:pt x="3573812" y="791169"/>
                  <a:pt x="3609890" y="819570"/>
                  <a:pt x="3609890" y="882052"/>
                </a:cubicBezTo>
                <a:cubicBezTo>
                  <a:pt x="3609890" y="957923"/>
                  <a:pt x="3555773" y="1001133"/>
                  <a:pt x="3461067" y="1001133"/>
                </a:cubicBezTo>
                <a:cubicBezTo>
                  <a:pt x="3358776" y="1001133"/>
                  <a:pt x="3306299" y="952040"/>
                  <a:pt x="3289694" y="828699"/>
                </a:cubicBezTo>
                <a:lnTo>
                  <a:pt x="3130416" y="873329"/>
                </a:lnTo>
                <a:cubicBezTo>
                  <a:pt x="3139436" y="1001336"/>
                  <a:pt x="3259766" y="1080047"/>
                  <a:pt x="3441593" y="1080047"/>
                </a:cubicBezTo>
                <a:cubicBezTo>
                  <a:pt x="3644534" y="1080047"/>
                  <a:pt x="3754204" y="986324"/>
                  <a:pt x="3754204" y="837625"/>
                </a:cubicBezTo>
                <a:cubicBezTo>
                  <a:pt x="3754204" y="697851"/>
                  <a:pt x="3656423" y="639832"/>
                  <a:pt x="3554338" y="614474"/>
                </a:cubicBezTo>
                <a:lnTo>
                  <a:pt x="3410024" y="578770"/>
                </a:lnTo>
                <a:cubicBezTo>
                  <a:pt x="3337867" y="560918"/>
                  <a:pt x="3306299" y="528257"/>
                  <a:pt x="3306299" y="480584"/>
                </a:cubicBezTo>
                <a:cubicBezTo>
                  <a:pt x="3306299" y="421145"/>
                  <a:pt x="3357341" y="385441"/>
                  <a:pt x="3434008" y="385441"/>
                </a:cubicBezTo>
                <a:cubicBezTo>
                  <a:pt x="3524204" y="385441"/>
                  <a:pt x="3579756" y="434534"/>
                  <a:pt x="3587341" y="528257"/>
                </a:cubicBezTo>
                <a:lnTo>
                  <a:pt x="3737599" y="483627"/>
                </a:lnTo>
                <a:cubicBezTo>
                  <a:pt x="3719560" y="379152"/>
                  <a:pt x="3615835" y="306324"/>
                  <a:pt x="3448972" y="306324"/>
                </a:cubicBezTo>
                <a:moveTo>
                  <a:pt x="4194524" y="997887"/>
                </a:moveTo>
                <a:cubicBezTo>
                  <a:pt x="4078704" y="997887"/>
                  <a:pt x="4014132" y="889355"/>
                  <a:pt x="4014132" y="692983"/>
                </a:cubicBezTo>
                <a:cubicBezTo>
                  <a:pt x="4014132" y="493568"/>
                  <a:pt x="4078704" y="388078"/>
                  <a:pt x="4194524" y="388078"/>
                </a:cubicBezTo>
                <a:cubicBezTo>
                  <a:pt x="4310344" y="388078"/>
                  <a:pt x="4374916" y="495191"/>
                  <a:pt x="4374916" y="692983"/>
                </a:cubicBezTo>
                <a:cubicBezTo>
                  <a:pt x="4374916" y="892398"/>
                  <a:pt x="4310139" y="997887"/>
                  <a:pt x="4194524" y="997887"/>
                </a:cubicBezTo>
                <a:moveTo>
                  <a:pt x="4194524" y="306324"/>
                </a:moveTo>
                <a:cubicBezTo>
                  <a:pt x="3958580" y="306324"/>
                  <a:pt x="3827796" y="480381"/>
                  <a:pt x="3827796" y="692983"/>
                </a:cubicBezTo>
                <a:cubicBezTo>
                  <a:pt x="3827796" y="905584"/>
                  <a:pt x="3958580" y="1079641"/>
                  <a:pt x="4194524" y="1079641"/>
                </a:cubicBezTo>
                <a:cubicBezTo>
                  <a:pt x="4430469" y="1079641"/>
                  <a:pt x="4561253" y="905584"/>
                  <a:pt x="4561253" y="692983"/>
                </a:cubicBezTo>
                <a:cubicBezTo>
                  <a:pt x="4561253" y="480381"/>
                  <a:pt x="4430469" y="306324"/>
                  <a:pt x="4194524" y="306324"/>
                </a:cubicBezTo>
                <a:moveTo>
                  <a:pt x="5060201" y="306324"/>
                </a:moveTo>
                <a:cubicBezTo>
                  <a:pt x="4948891" y="306324"/>
                  <a:pt x="4887394" y="353997"/>
                  <a:pt x="4852750" y="414856"/>
                </a:cubicBezTo>
                <a:lnTo>
                  <a:pt x="4843731" y="414856"/>
                </a:lnTo>
                <a:lnTo>
                  <a:pt x="4843731" y="321133"/>
                </a:lnTo>
                <a:lnTo>
                  <a:pt x="4666414" y="321133"/>
                </a:lnTo>
                <a:lnTo>
                  <a:pt x="4666414" y="1064832"/>
                </a:lnTo>
                <a:lnTo>
                  <a:pt x="4843731" y="1064832"/>
                </a:lnTo>
                <a:lnTo>
                  <a:pt x="4843731" y="584451"/>
                </a:lnTo>
                <a:cubicBezTo>
                  <a:pt x="4843731" y="474498"/>
                  <a:pt x="4900923" y="410393"/>
                  <a:pt x="4992554" y="410393"/>
                </a:cubicBezTo>
                <a:cubicBezTo>
                  <a:pt x="5081315" y="410393"/>
                  <a:pt x="5120263" y="468413"/>
                  <a:pt x="5120263" y="556253"/>
                </a:cubicBezTo>
                <a:lnTo>
                  <a:pt x="5120263" y="1064832"/>
                </a:lnTo>
                <a:lnTo>
                  <a:pt x="5297580" y="1064832"/>
                </a:lnTo>
                <a:lnTo>
                  <a:pt x="5297580" y="554630"/>
                </a:lnTo>
                <a:cubicBezTo>
                  <a:pt x="5297580" y="401467"/>
                  <a:pt x="5216404" y="306324"/>
                  <a:pt x="5060201" y="306324"/>
                </a:cubicBezTo>
                <a:moveTo>
                  <a:pt x="7694744" y="997887"/>
                </a:moveTo>
                <a:cubicBezTo>
                  <a:pt x="7578925" y="997887"/>
                  <a:pt x="7514353" y="889355"/>
                  <a:pt x="7514353" y="692983"/>
                </a:cubicBezTo>
                <a:cubicBezTo>
                  <a:pt x="7514353" y="493568"/>
                  <a:pt x="7578925" y="388078"/>
                  <a:pt x="7694744" y="388078"/>
                </a:cubicBezTo>
                <a:cubicBezTo>
                  <a:pt x="7810564" y="388078"/>
                  <a:pt x="7875136" y="495191"/>
                  <a:pt x="7875136" y="692983"/>
                </a:cubicBezTo>
                <a:cubicBezTo>
                  <a:pt x="7875136" y="892398"/>
                  <a:pt x="7810359" y="997887"/>
                  <a:pt x="7694744" y="997887"/>
                </a:cubicBezTo>
                <a:moveTo>
                  <a:pt x="7694744" y="306324"/>
                </a:moveTo>
                <a:cubicBezTo>
                  <a:pt x="7458800" y="306324"/>
                  <a:pt x="7328015" y="480381"/>
                  <a:pt x="7328015" y="692983"/>
                </a:cubicBezTo>
                <a:cubicBezTo>
                  <a:pt x="7328015" y="905584"/>
                  <a:pt x="7458800" y="1079641"/>
                  <a:pt x="7694744" y="1079641"/>
                </a:cubicBezTo>
                <a:cubicBezTo>
                  <a:pt x="7930689" y="1079641"/>
                  <a:pt x="8061473" y="905584"/>
                  <a:pt x="8061473" y="692983"/>
                </a:cubicBezTo>
                <a:cubicBezTo>
                  <a:pt x="8061473" y="480381"/>
                  <a:pt x="7930689" y="306324"/>
                  <a:pt x="7694744" y="306324"/>
                </a:cubicBezTo>
                <a:moveTo>
                  <a:pt x="9334262" y="306324"/>
                </a:moveTo>
                <a:cubicBezTo>
                  <a:pt x="9222951" y="306324"/>
                  <a:pt x="9161454" y="353997"/>
                  <a:pt x="9126810" y="414856"/>
                </a:cubicBezTo>
                <a:lnTo>
                  <a:pt x="9117791" y="414856"/>
                </a:lnTo>
                <a:lnTo>
                  <a:pt x="9117791" y="321133"/>
                </a:lnTo>
                <a:lnTo>
                  <a:pt x="8940474" y="321133"/>
                </a:lnTo>
                <a:lnTo>
                  <a:pt x="8940474" y="1064832"/>
                </a:lnTo>
                <a:lnTo>
                  <a:pt x="9117791" y="1064832"/>
                </a:lnTo>
                <a:lnTo>
                  <a:pt x="9117791" y="584451"/>
                </a:lnTo>
                <a:cubicBezTo>
                  <a:pt x="9117791" y="474498"/>
                  <a:pt x="9174983" y="410393"/>
                  <a:pt x="9266614" y="410393"/>
                </a:cubicBezTo>
                <a:cubicBezTo>
                  <a:pt x="9355376" y="410393"/>
                  <a:pt x="9394324" y="468413"/>
                  <a:pt x="9394324" y="556253"/>
                </a:cubicBezTo>
                <a:lnTo>
                  <a:pt x="9394324" y="1064832"/>
                </a:lnTo>
                <a:lnTo>
                  <a:pt x="9571641" y="1064832"/>
                </a:lnTo>
                <a:lnTo>
                  <a:pt x="9571641" y="554630"/>
                </a:lnTo>
                <a:cubicBezTo>
                  <a:pt x="9571846" y="401467"/>
                  <a:pt x="9490669" y="306324"/>
                  <a:pt x="9334262" y="306324"/>
                </a:cubicBezTo>
                <a:moveTo>
                  <a:pt x="9974653" y="306324"/>
                </a:moveTo>
                <a:cubicBezTo>
                  <a:pt x="9810865" y="306324"/>
                  <a:pt x="9687666" y="374689"/>
                  <a:pt x="9687666" y="520548"/>
                </a:cubicBezTo>
                <a:cubicBezTo>
                  <a:pt x="9687666" y="644093"/>
                  <a:pt x="9773352" y="711038"/>
                  <a:pt x="9869493" y="734773"/>
                </a:cubicBezTo>
                <a:lnTo>
                  <a:pt x="10019751" y="771897"/>
                </a:lnTo>
                <a:cubicBezTo>
                  <a:pt x="10099492" y="791169"/>
                  <a:pt x="10135571" y="819570"/>
                  <a:pt x="10135571" y="882052"/>
                </a:cubicBezTo>
                <a:cubicBezTo>
                  <a:pt x="10135571" y="957923"/>
                  <a:pt x="10081453" y="1001133"/>
                  <a:pt x="9986747" y="1001133"/>
                </a:cubicBezTo>
                <a:cubicBezTo>
                  <a:pt x="9884457" y="1001133"/>
                  <a:pt x="9831980" y="952040"/>
                  <a:pt x="9815375" y="828699"/>
                </a:cubicBezTo>
                <a:lnTo>
                  <a:pt x="9656097" y="873329"/>
                </a:lnTo>
                <a:cubicBezTo>
                  <a:pt x="9665117" y="1001336"/>
                  <a:pt x="9785446" y="1080047"/>
                  <a:pt x="9967273" y="1080047"/>
                </a:cubicBezTo>
                <a:cubicBezTo>
                  <a:pt x="10170215" y="1080047"/>
                  <a:pt x="10279884" y="986324"/>
                  <a:pt x="10279884" y="837625"/>
                </a:cubicBezTo>
                <a:cubicBezTo>
                  <a:pt x="10279884" y="697851"/>
                  <a:pt x="10182104" y="639832"/>
                  <a:pt x="10080018" y="614474"/>
                </a:cubicBezTo>
                <a:lnTo>
                  <a:pt x="9935705" y="578770"/>
                </a:lnTo>
                <a:cubicBezTo>
                  <a:pt x="9863548" y="560918"/>
                  <a:pt x="9831980" y="528257"/>
                  <a:pt x="9831980" y="480584"/>
                </a:cubicBezTo>
                <a:cubicBezTo>
                  <a:pt x="9831980" y="421145"/>
                  <a:pt x="9883022" y="385441"/>
                  <a:pt x="9959688" y="385441"/>
                </a:cubicBezTo>
                <a:cubicBezTo>
                  <a:pt x="10049884" y="385441"/>
                  <a:pt x="10105437" y="434534"/>
                  <a:pt x="10113022" y="528257"/>
                </a:cubicBezTo>
                <a:lnTo>
                  <a:pt x="10263280" y="483627"/>
                </a:lnTo>
                <a:cubicBezTo>
                  <a:pt x="10245036" y="379152"/>
                  <a:pt x="10141311" y="306324"/>
                  <a:pt x="9974653" y="306324"/>
                </a:cubicBezTo>
                <a:moveTo>
                  <a:pt x="10720000" y="997887"/>
                </a:moveTo>
                <a:cubicBezTo>
                  <a:pt x="10604180" y="997887"/>
                  <a:pt x="10539607" y="889355"/>
                  <a:pt x="10539607" y="692983"/>
                </a:cubicBezTo>
                <a:cubicBezTo>
                  <a:pt x="10539607" y="493568"/>
                  <a:pt x="10604180" y="388078"/>
                  <a:pt x="10720000" y="388078"/>
                </a:cubicBezTo>
                <a:cubicBezTo>
                  <a:pt x="10835819" y="388078"/>
                  <a:pt x="10900392" y="495191"/>
                  <a:pt x="10900392" y="692983"/>
                </a:cubicBezTo>
                <a:cubicBezTo>
                  <a:pt x="10900392" y="892398"/>
                  <a:pt x="10835614" y="997887"/>
                  <a:pt x="10720000" y="997887"/>
                </a:cubicBezTo>
                <a:moveTo>
                  <a:pt x="10720000" y="306324"/>
                </a:moveTo>
                <a:cubicBezTo>
                  <a:pt x="10484056" y="306324"/>
                  <a:pt x="10353271" y="480381"/>
                  <a:pt x="10353271" y="692983"/>
                </a:cubicBezTo>
                <a:cubicBezTo>
                  <a:pt x="10353271" y="905584"/>
                  <a:pt x="10484056" y="1079641"/>
                  <a:pt x="10720000" y="1079641"/>
                </a:cubicBezTo>
                <a:cubicBezTo>
                  <a:pt x="10955945" y="1079641"/>
                  <a:pt x="11086728" y="905584"/>
                  <a:pt x="11086728" y="692983"/>
                </a:cubicBezTo>
                <a:cubicBezTo>
                  <a:pt x="11086728" y="480381"/>
                  <a:pt x="10955945" y="306324"/>
                  <a:pt x="10720000" y="306324"/>
                </a:cubicBezTo>
                <a:moveTo>
                  <a:pt x="11585677" y="306324"/>
                </a:moveTo>
                <a:cubicBezTo>
                  <a:pt x="11474367" y="306324"/>
                  <a:pt x="11412869" y="353997"/>
                  <a:pt x="11378226" y="414856"/>
                </a:cubicBezTo>
                <a:lnTo>
                  <a:pt x="11369206" y="414856"/>
                </a:lnTo>
                <a:lnTo>
                  <a:pt x="11369206" y="321133"/>
                </a:lnTo>
                <a:lnTo>
                  <a:pt x="11191889" y="321133"/>
                </a:lnTo>
                <a:lnTo>
                  <a:pt x="11191889" y="1064832"/>
                </a:lnTo>
                <a:lnTo>
                  <a:pt x="11369206" y="1064832"/>
                </a:lnTo>
                <a:lnTo>
                  <a:pt x="11369206" y="584451"/>
                </a:lnTo>
                <a:cubicBezTo>
                  <a:pt x="11369206" y="474498"/>
                  <a:pt x="11426398" y="410393"/>
                  <a:pt x="11518030" y="410393"/>
                </a:cubicBezTo>
                <a:cubicBezTo>
                  <a:pt x="11606791" y="410393"/>
                  <a:pt x="11645739" y="468413"/>
                  <a:pt x="11645739" y="556253"/>
                </a:cubicBezTo>
                <a:lnTo>
                  <a:pt x="11645739" y="1064832"/>
                </a:lnTo>
                <a:lnTo>
                  <a:pt x="11823056" y="1064832"/>
                </a:lnTo>
                <a:lnTo>
                  <a:pt x="11823056" y="554630"/>
                </a:lnTo>
                <a:cubicBezTo>
                  <a:pt x="11823056" y="401467"/>
                  <a:pt x="11741880" y="306324"/>
                  <a:pt x="11585677" y="306324"/>
                </a:cubicBezTo>
                <a:moveTo>
                  <a:pt x="697379" y="23735"/>
                </a:moveTo>
                <a:lnTo>
                  <a:pt x="511042" y="23735"/>
                </a:lnTo>
                <a:lnTo>
                  <a:pt x="511042" y="792589"/>
                </a:lnTo>
                <a:cubicBezTo>
                  <a:pt x="511042" y="917553"/>
                  <a:pt x="462869" y="991801"/>
                  <a:pt x="348690" y="991801"/>
                </a:cubicBezTo>
                <a:cubicBezTo>
                  <a:pt x="235945" y="991801"/>
                  <a:pt x="186337" y="912887"/>
                  <a:pt x="186337" y="777577"/>
                </a:cubicBezTo>
                <a:lnTo>
                  <a:pt x="186337" y="634761"/>
                </a:lnTo>
                <a:lnTo>
                  <a:pt x="0" y="680811"/>
                </a:lnTo>
                <a:lnTo>
                  <a:pt x="0" y="744713"/>
                </a:lnTo>
                <a:cubicBezTo>
                  <a:pt x="0" y="939462"/>
                  <a:pt x="97781" y="1088364"/>
                  <a:pt x="348690" y="1088364"/>
                </a:cubicBezTo>
                <a:cubicBezTo>
                  <a:pt x="599598" y="1088364"/>
                  <a:pt x="697379" y="939665"/>
                  <a:pt x="697379" y="744713"/>
                </a:cubicBezTo>
                <a:lnTo>
                  <a:pt x="697379" y="23735"/>
                </a:lnTo>
                <a:moveTo>
                  <a:pt x="1818474" y="23735"/>
                </a:moveTo>
                <a:lnTo>
                  <a:pt x="1641157" y="23735"/>
                </a:lnTo>
                <a:lnTo>
                  <a:pt x="1641157" y="1064832"/>
                </a:lnTo>
                <a:lnTo>
                  <a:pt x="1818474" y="1064832"/>
                </a:lnTo>
                <a:lnTo>
                  <a:pt x="1818474" y="584451"/>
                </a:lnTo>
                <a:cubicBezTo>
                  <a:pt x="1818474" y="474498"/>
                  <a:pt x="1875667" y="410393"/>
                  <a:pt x="1967298" y="410393"/>
                </a:cubicBezTo>
                <a:cubicBezTo>
                  <a:pt x="2056059" y="410393"/>
                  <a:pt x="2095007" y="468413"/>
                  <a:pt x="2095007" y="556253"/>
                </a:cubicBezTo>
                <a:lnTo>
                  <a:pt x="2095007" y="1064832"/>
                </a:lnTo>
                <a:lnTo>
                  <a:pt x="2272324" y="1064832"/>
                </a:lnTo>
                <a:lnTo>
                  <a:pt x="2272324" y="554630"/>
                </a:lnTo>
                <a:cubicBezTo>
                  <a:pt x="2272324" y="401467"/>
                  <a:pt x="2191148" y="306324"/>
                  <a:pt x="2034945" y="306324"/>
                </a:cubicBezTo>
                <a:cubicBezTo>
                  <a:pt x="1923635" y="306324"/>
                  <a:pt x="1862138" y="353997"/>
                  <a:pt x="1827494" y="414856"/>
                </a:cubicBezTo>
                <a:lnTo>
                  <a:pt x="1818474" y="414856"/>
                </a:lnTo>
                <a:lnTo>
                  <a:pt x="1818474" y="23735"/>
                </a:lnTo>
                <a:moveTo>
                  <a:pt x="7222855" y="23735"/>
                </a:moveTo>
                <a:lnTo>
                  <a:pt x="7036518" y="23735"/>
                </a:lnTo>
                <a:lnTo>
                  <a:pt x="7036518" y="792589"/>
                </a:lnTo>
                <a:cubicBezTo>
                  <a:pt x="7036518" y="917553"/>
                  <a:pt x="6988346" y="991801"/>
                  <a:pt x="6874166" y="991801"/>
                </a:cubicBezTo>
                <a:cubicBezTo>
                  <a:pt x="6761421" y="991801"/>
                  <a:pt x="6711813" y="912887"/>
                  <a:pt x="6711813" y="777577"/>
                </a:cubicBezTo>
                <a:lnTo>
                  <a:pt x="6711813" y="634761"/>
                </a:lnTo>
                <a:lnTo>
                  <a:pt x="6525476" y="680811"/>
                </a:lnTo>
                <a:lnTo>
                  <a:pt x="6525476" y="744713"/>
                </a:lnTo>
                <a:cubicBezTo>
                  <a:pt x="6525476" y="939462"/>
                  <a:pt x="6623257" y="1088364"/>
                  <a:pt x="6874166" y="1088364"/>
                </a:cubicBezTo>
                <a:cubicBezTo>
                  <a:pt x="7125074" y="1088364"/>
                  <a:pt x="7222855" y="939665"/>
                  <a:pt x="7222855" y="744713"/>
                </a:cubicBezTo>
                <a:lnTo>
                  <a:pt x="7222855" y="23735"/>
                </a:lnTo>
                <a:moveTo>
                  <a:pt x="8343950" y="23735"/>
                </a:moveTo>
                <a:lnTo>
                  <a:pt x="8166633" y="23735"/>
                </a:lnTo>
                <a:lnTo>
                  <a:pt x="8166633" y="1064832"/>
                </a:lnTo>
                <a:lnTo>
                  <a:pt x="8343950" y="1064832"/>
                </a:lnTo>
                <a:lnTo>
                  <a:pt x="8343950" y="584451"/>
                </a:lnTo>
                <a:cubicBezTo>
                  <a:pt x="8343950" y="474498"/>
                  <a:pt x="8401143" y="410393"/>
                  <a:pt x="8492774" y="410393"/>
                </a:cubicBezTo>
                <a:cubicBezTo>
                  <a:pt x="8581535" y="410393"/>
                  <a:pt x="8620483" y="468413"/>
                  <a:pt x="8620483" y="556253"/>
                </a:cubicBezTo>
                <a:lnTo>
                  <a:pt x="8620483" y="1064832"/>
                </a:lnTo>
                <a:lnTo>
                  <a:pt x="8797800" y="1064832"/>
                </a:lnTo>
                <a:lnTo>
                  <a:pt x="8797800" y="554630"/>
                </a:lnTo>
                <a:cubicBezTo>
                  <a:pt x="8797800" y="401467"/>
                  <a:pt x="8716624" y="306324"/>
                  <a:pt x="8560421" y="306324"/>
                </a:cubicBezTo>
                <a:cubicBezTo>
                  <a:pt x="8449110" y="306324"/>
                  <a:pt x="8387613" y="353997"/>
                  <a:pt x="8352970" y="414856"/>
                </a:cubicBezTo>
                <a:lnTo>
                  <a:pt x="8343950" y="414856"/>
                </a:lnTo>
                <a:lnTo>
                  <a:pt x="8343950" y="23735"/>
                </a:lnTo>
                <a:moveTo>
                  <a:pt x="5882214" y="980035"/>
                </a:moveTo>
                <a:cubicBezTo>
                  <a:pt x="5737901" y="980035"/>
                  <a:pt x="5649345" y="863997"/>
                  <a:pt x="5649345" y="740656"/>
                </a:cubicBezTo>
                <a:cubicBezTo>
                  <a:pt x="5649345" y="663365"/>
                  <a:pt x="5683988" y="591957"/>
                  <a:pt x="5740976" y="551790"/>
                </a:cubicBezTo>
                <a:lnTo>
                  <a:pt x="6080646" y="919176"/>
                </a:lnTo>
                <a:cubicBezTo>
                  <a:pt x="6017508" y="956300"/>
                  <a:pt x="5946787" y="980035"/>
                  <a:pt x="5882214" y="980035"/>
                </a:cubicBezTo>
                <a:moveTo>
                  <a:pt x="6212865" y="797052"/>
                </a:moveTo>
                <a:lnTo>
                  <a:pt x="5918293" y="475716"/>
                </a:lnTo>
                <a:cubicBezTo>
                  <a:pt x="5970976" y="454821"/>
                  <a:pt x="6022018" y="447518"/>
                  <a:pt x="6064042" y="447518"/>
                </a:cubicBezTo>
                <a:cubicBezTo>
                  <a:pt x="6185806" y="447518"/>
                  <a:pt x="6260833" y="517506"/>
                  <a:pt x="6260833" y="638007"/>
                </a:cubicBezTo>
                <a:cubicBezTo>
                  <a:pt x="6261038" y="691563"/>
                  <a:pt x="6245869" y="746539"/>
                  <a:pt x="6212865" y="797052"/>
                </a:cubicBezTo>
                <a:moveTo>
                  <a:pt x="5877705" y="432708"/>
                </a:moveTo>
                <a:lnTo>
                  <a:pt x="5813132" y="361300"/>
                </a:lnTo>
                <a:cubicBezTo>
                  <a:pt x="5755940" y="298818"/>
                  <a:pt x="5739541" y="260071"/>
                  <a:pt x="5739541" y="214021"/>
                </a:cubicBezTo>
                <a:cubicBezTo>
                  <a:pt x="5739541" y="127804"/>
                  <a:pt x="5795093" y="78711"/>
                  <a:pt x="5882214" y="78711"/>
                </a:cubicBezTo>
                <a:cubicBezTo>
                  <a:pt x="5970976" y="78711"/>
                  <a:pt x="6023453" y="129224"/>
                  <a:pt x="6023453" y="221527"/>
                </a:cubicBezTo>
                <a:cubicBezTo>
                  <a:pt x="6023453" y="306324"/>
                  <a:pt x="5981430" y="386658"/>
                  <a:pt x="5877705" y="432708"/>
                </a:cubicBezTo>
                <a:moveTo>
                  <a:pt x="5886724" y="0"/>
                </a:moveTo>
                <a:cubicBezTo>
                  <a:pt x="5679273" y="0"/>
                  <a:pt x="5577188" y="114618"/>
                  <a:pt x="5577188" y="257231"/>
                </a:cubicBezTo>
                <a:cubicBezTo>
                  <a:pt x="5577188" y="334522"/>
                  <a:pt x="5610192" y="412016"/>
                  <a:pt x="5697518" y="505537"/>
                </a:cubicBezTo>
                <a:lnTo>
                  <a:pt x="5698952" y="508580"/>
                </a:lnTo>
                <a:cubicBezTo>
                  <a:pt x="5551769" y="578568"/>
                  <a:pt x="5484122" y="691563"/>
                  <a:pt x="5484122" y="807601"/>
                </a:cubicBezTo>
                <a:cubicBezTo>
                  <a:pt x="5484122" y="960763"/>
                  <a:pt x="5602812" y="1088770"/>
                  <a:pt x="5786279" y="1088770"/>
                </a:cubicBezTo>
                <a:cubicBezTo>
                  <a:pt x="5891439" y="1088770"/>
                  <a:pt x="6014639" y="1045560"/>
                  <a:pt x="6125949" y="968269"/>
                </a:cubicBezTo>
                <a:lnTo>
                  <a:pt x="6216145" y="1065035"/>
                </a:lnTo>
                <a:lnTo>
                  <a:pt x="6452089" y="1065035"/>
                </a:lnTo>
                <a:lnTo>
                  <a:pt x="6452089" y="1057529"/>
                </a:lnTo>
                <a:lnTo>
                  <a:pt x="6259808" y="847768"/>
                </a:lnTo>
                <a:cubicBezTo>
                  <a:pt x="6340984" y="752625"/>
                  <a:pt x="6387517" y="648556"/>
                  <a:pt x="6387517" y="557673"/>
                </a:cubicBezTo>
                <a:cubicBezTo>
                  <a:pt x="6387517" y="444677"/>
                  <a:pt x="6310850" y="368806"/>
                  <a:pt x="6190726" y="368806"/>
                </a:cubicBezTo>
                <a:cubicBezTo>
                  <a:pt x="6127588" y="368806"/>
                  <a:pt x="6056867" y="386658"/>
                  <a:pt x="6010334" y="404510"/>
                </a:cubicBezTo>
                <a:lnTo>
                  <a:pt x="6007259" y="398627"/>
                </a:lnTo>
                <a:cubicBezTo>
                  <a:pt x="6121439" y="337565"/>
                  <a:pt x="6169612" y="281169"/>
                  <a:pt x="6169612" y="202255"/>
                </a:cubicBezTo>
                <a:cubicBezTo>
                  <a:pt x="6169202" y="89260"/>
                  <a:pt x="6067117" y="0"/>
                  <a:pt x="5886724" y="0"/>
                </a:cubicBezTo>
              </a:path>
            </a:pathLst>
          </a:custGeom>
          <a:solidFill>
            <a:schemeClr val="bg1"/>
          </a:solidFill>
          <a:ln w="2048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35482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01AEC0-BFFC-6E48-90A3-3CB0786728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6635" y="643486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197210F-053D-2142-8E11-1F8D25C47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15498"/>
          </a:xfrm>
        </p:spPr>
        <p:txBody>
          <a:bodyPr/>
          <a:lstStyle>
            <a:lvl1pPr>
              <a:defRPr sz="3000" spc="-42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A4E5312-243B-6A4E-AA38-ECD1CEF50C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1927" y="1076740"/>
            <a:ext cx="10984177" cy="4806271"/>
          </a:xfrm>
        </p:spPr>
        <p:txBody>
          <a:bodyPr/>
          <a:lstStyle>
            <a:lvl1pPr>
              <a:defRPr sz="2000"/>
            </a:lvl1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6502925-5610-F248-BF95-F854B07CC3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5943722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95470166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4355" y="6238860"/>
            <a:ext cx="12200710" cy="6191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42" b="16044"/>
          <a:stretch/>
        </p:blipFill>
        <p:spPr>
          <a:xfrm>
            <a:off x="8705850" y="6238860"/>
            <a:ext cx="2816924" cy="61914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382644" y="647148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0" name="Copyright" hidden="1"/>
          <p:cNvSpPr txBox="1"/>
          <p:nvPr userDrawn="1"/>
        </p:nvSpPr>
        <p:spPr>
          <a:xfrm rot="16200000">
            <a:off x="9486900" y="360281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  <a:sym typeface="Trebuchet MS" panose="020B0603020202020204" pitchFamily="34" charset="0"/>
              </a:rPr>
              <a:t>Copyright © 2-18 by The Boston Consulting Group, Inc. All rights reserved.</a:t>
            </a:r>
          </a:p>
        </p:txBody>
      </p:sp>
      <p:sp>
        <p:nvSpPr>
          <p:cNvPr id="6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4799103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  <a:sym typeface="Trebuchet MS" panose="020B0603020202020204" pitchFamily="34" charset="0"/>
              </a:rPr>
              <a:t>2-181-19_JRD Strategic Initiatives Ramp Up.pptx</a:t>
            </a:r>
          </a:p>
        </p:txBody>
      </p:sp>
    </p:spTree>
    <p:extLst>
      <p:ext uri="{BB962C8B-B14F-4D97-AF65-F5344CB8AC3E}">
        <p14:creationId xmlns:p14="http://schemas.microsoft.com/office/powerpoint/2010/main" val="240699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1"/>
          <p:cNvSpPr>
            <a:spLocks noGrp="1"/>
          </p:cNvSpPr>
          <p:nvPr>
            <p:ph sz="quarter" idx="26" hasCustomPrompt="1"/>
          </p:nvPr>
        </p:nvSpPr>
        <p:spPr>
          <a:xfrm>
            <a:off x="4338918" y="1729526"/>
            <a:ext cx="7247715" cy="4153064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500"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01928" y="1729526"/>
            <a:ext cx="3512873" cy="4153063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8C8F6ED-C3BA-407C-9860-C4E2573D7A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5943722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6B6F339-5C44-9A4A-BF8A-F9B91C71EB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6635" y="643486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04260DA-F09A-E940-8305-77C1AD5CD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15498"/>
          </a:xfrm>
        </p:spPr>
        <p:txBody>
          <a:bodyPr/>
          <a:lstStyle>
            <a:lvl1pPr>
              <a:defRPr sz="3000" spc="-42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825919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80C8231-7B8C-0F4F-A787-491646ADC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6635" y="643486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9907C00-9B28-4F43-92BC-2EA6BC865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15498"/>
          </a:xfrm>
        </p:spPr>
        <p:txBody>
          <a:bodyPr/>
          <a:lstStyle>
            <a:lvl1pPr>
              <a:defRPr sz="3000" spc="-42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C642790-D690-4443-BC0C-C44E39020B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882534"/>
            <a:ext cx="10981267" cy="30707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spc="-83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itchFamily="-65" charset="0"/>
              </a:defRPr>
            </a:lvl1pPr>
            <a:lvl2pPr>
              <a:defRPr sz="2083"/>
            </a:lvl2pPr>
            <a:lvl3pPr>
              <a:defRPr sz="2083"/>
            </a:lvl3pPr>
            <a:lvl4pPr>
              <a:defRPr sz="2083"/>
            </a:lvl4pPr>
            <a:lvl5pPr>
              <a:defRPr sz="2083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371FD49-BED0-9340-ADD8-459F51C381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1927" y="1729946"/>
            <a:ext cx="10984177" cy="41530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0F562656-A4F1-614A-A820-8D21234DF8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5943722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56223905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122B73-AE43-E79E-B865-B943EA1072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D6517D-BC7C-9FBC-F8B6-AC1C74EA49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617BB0-ED8C-C9D0-1E65-8CD8874C7F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688AD4-1985-A404-2478-3E0FF42E1F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678A1A-418D-4150-E7B7-AF110C107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1B8DEFD4-DFA9-7149-9F69-ACD713F17608}" type="slidenum">
              <a:rPr kumimoji="0" lang="en-B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92091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AF9077-2AAA-701B-7103-3EE8D1397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4F2F81-59A9-593E-FF48-14EA873534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038952-875E-78B9-AB72-8CCC8EBB6D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D6447F-022B-4400-8D6B-8FE8C8E54DA7}" type="datetimeFigureOut">
              <a:rPr kumimoji="0" lang="nl-B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05/2025</a:t>
            </a:fld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86DD99-DC78-B14D-FCEC-B6E1C6691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nl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07CCE0-BEED-AE2D-89C3-5B3C64C0C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E4FEF86-117C-4E52-A7FC-1C492FBCEFDF}" type="slidenum">
              <a:rPr kumimoji="0" lang="nl-B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l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87549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4806" y="262670"/>
            <a:ext cx="8676632" cy="3930563"/>
          </a:xfrm>
        </p:spPr>
        <p:txBody>
          <a:bodyPr anchor="t">
            <a:normAutofit/>
          </a:bodyPr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42D80B8-9D94-A4FE-A104-C937BDCF89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2" name="Graphic 2">
            <a:extLst>
              <a:ext uri="{FF2B5EF4-FFF2-40B4-BE49-F238E27FC236}">
                <a16:creationId xmlns:a16="http://schemas.microsoft.com/office/drawing/2014/main" id="{FC18C372-E3E1-FE2B-B432-BD1E63E9A760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99559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Accessible Versio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4805" y="261082"/>
            <a:ext cx="8676633" cy="3930563"/>
          </a:xfrm>
        </p:spPr>
        <p:txBody>
          <a:bodyPr anchor="t">
            <a:normAutofit/>
          </a:bodyPr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A32A6B3-A100-17C8-83CF-514F06C3D0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0C91DE01-8580-80A7-12D8-EA90EF5CA36F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accent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90781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 - Long title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80" y="266955"/>
            <a:ext cx="5734050" cy="3482172"/>
          </a:xfr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  <a:br>
              <a:rPr lang="en-GB"/>
            </a:b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2CA5BFA-B5A6-B786-4C05-6FD9C9E49A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E1BD3F77-9A53-CD01-DCF8-3C90891AE6D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62381" y="0"/>
            <a:ext cx="5629619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1457E6FC-210A-4A04-1640-ED8A61457C29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0137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Panel Images - Long title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79" y="266955"/>
            <a:ext cx="8518155" cy="2946145"/>
          </a:xfr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  <a:br>
              <a:rPr lang="en-GB"/>
            </a:b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2CA5BFA-B5A6-B786-4C05-6FD9C9E49A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12805BBD-74C7-DA61-6F6B-3B684DEF9D0F}"/>
              </a:ext>
            </a:extLst>
          </p:cNvPr>
          <p:cNvSpPr txBox="1">
            <a:spLocks/>
          </p:cNvSpPr>
          <p:nvPr userDrawn="1"/>
        </p:nvSpPr>
        <p:spPr>
          <a:xfrm>
            <a:off x="9150578" y="1"/>
            <a:ext cx="3041422" cy="3428999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1CA0C032-7A97-1BEF-7516-760655826D94}"/>
              </a:ext>
            </a:extLst>
          </p:cNvPr>
          <p:cNvSpPr txBox="1">
            <a:spLocks/>
          </p:cNvSpPr>
          <p:nvPr userDrawn="1"/>
        </p:nvSpPr>
        <p:spPr>
          <a:xfrm>
            <a:off x="5083403" y="3429000"/>
            <a:ext cx="3041422" cy="2479675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7" name="Graphic 2">
            <a:extLst>
              <a:ext uri="{FF2B5EF4-FFF2-40B4-BE49-F238E27FC236}">
                <a16:creationId xmlns:a16="http://schemas.microsoft.com/office/drawing/2014/main" id="{76E2EBF3-E47D-58C8-6929-CAE0CAEF897D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15973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06B22-1DE8-7C36-14AE-7260C97F6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79" y="262800"/>
            <a:ext cx="4667383" cy="327013"/>
          </a:xfrm>
        </p:spPr>
        <p:txBody>
          <a:bodyPr>
            <a:spAutoFit/>
          </a:bodyPr>
          <a:lstStyle>
            <a:lvl1pPr>
              <a:defRPr sz="25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FC7E9F7-1405-E6D8-9042-37C2DC045B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240207"/>
            <a:ext cx="2795587" cy="717180"/>
          </a:xfrm>
        </p:spPr>
        <p:txBody>
          <a:bodyPr anchor="t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E8CDE24-BE6D-421C-9ED6-9443D70EB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240207"/>
            <a:ext cx="2795587" cy="71718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8" name="Graphic 6">
            <a:extLst>
              <a:ext uri="{FF2B5EF4-FFF2-40B4-BE49-F238E27FC236}">
                <a16:creationId xmlns:a16="http://schemas.microsoft.com/office/drawing/2014/main" id="{ACC64B1C-0B76-B49C-E8DA-EBD2AFAFA613}"/>
              </a:ext>
            </a:extLst>
          </p:cNvPr>
          <p:cNvSpPr>
            <a:spLocks noChangeAspect="1"/>
          </p:cNvSpPr>
          <p:nvPr/>
        </p:nvSpPr>
        <p:spPr>
          <a:xfrm>
            <a:off x="287338" y="2269434"/>
            <a:ext cx="11608421" cy="4331774"/>
          </a:xfrm>
          <a:custGeom>
            <a:avLst/>
            <a:gdLst>
              <a:gd name="connsiteX0" fmla="*/ 9940695 w 12886034"/>
              <a:gd name="connsiteY0" fmla="*/ 2142364 h 4808525"/>
              <a:gd name="connsiteX1" fmla="*/ 9940695 w 12886034"/>
              <a:gd name="connsiteY1" fmla="*/ 1153823 h 4808525"/>
              <a:gd name="connsiteX2" fmla="*/ 10243112 w 12886034"/>
              <a:gd name="connsiteY2" fmla="*/ 795655 h 4808525"/>
              <a:gd name="connsiteX3" fmla="*/ 10502975 w 12886034"/>
              <a:gd name="connsiteY3" fmla="*/ 1095467 h 4808525"/>
              <a:gd name="connsiteX4" fmla="*/ 10502975 w 12886034"/>
              <a:gd name="connsiteY4" fmla="*/ 2142364 h 4808525"/>
              <a:gd name="connsiteX5" fmla="*/ 10863643 w 12886034"/>
              <a:gd name="connsiteY5" fmla="*/ 2142364 h 4808525"/>
              <a:gd name="connsiteX6" fmla="*/ 10863643 w 12886034"/>
              <a:gd name="connsiteY6" fmla="*/ 1092672 h 4808525"/>
              <a:gd name="connsiteX7" fmla="*/ 10380892 w 12886034"/>
              <a:gd name="connsiteY7" fmla="*/ 581454 h 4808525"/>
              <a:gd name="connsiteX8" fmla="*/ 9959182 w 12886034"/>
              <a:gd name="connsiteY8" fmla="*/ 804741 h 4808525"/>
              <a:gd name="connsiteX9" fmla="*/ 9940695 w 12886034"/>
              <a:gd name="connsiteY9" fmla="*/ 804741 h 4808525"/>
              <a:gd name="connsiteX10" fmla="*/ 9940695 w 12886034"/>
              <a:gd name="connsiteY10" fmla="*/ 611854 h 4808525"/>
              <a:gd name="connsiteX11" fmla="*/ 9580028 w 12886034"/>
              <a:gd name="connsiteY11" fmla="*/ 611854 h 4808525"/>
              <a:gd name="connsiteX12" fmla="*/ 9580028 w 12886034"/>
              <a:gd name="connsiteY12" fmla="*/ 2142015 h 4808525"/>
              <a:gd name="connsiteX13" fmla="*/ 9940695 w 12886034"/>
              <a:gd name="connsiteY13" fmla="*/ 2142015 h 4808525"/>
              <a:gd name="connsiteX14" fmla="*/ 8620803 w 12886034"/>
              <a:gd name="connsiteY14" fmla="*/ 2004688 h 4808525"/>
              <a:gd name="connsiteX15" fmla="*/ 8254206 w 12886034"/>
              <a:gd name="connsiteY15" fmla="*/ 1377109 h 4808525"/>
              <a:gd name="connsiteX16" fmla="*/ 8620803 w 12886034"/>
              <a:gd name="connsiteY16" fmla="*/ 749530 h 4808525"/>
              <a:gd name="connsiteX17" fmla="*/ 8987401 w 12886034"/>
              <a:gd name="connsiteY17" fmla="*/ 1377109 h 4808525"/>
              <a:gd name="connsiteX18" fmla="*/ 8620803 w 12886034"/>
              <a:gd name="connsiteY18" fmla="*/ 2004688 h 4808525"/>
              <a:gd name="connsiteX19" fmla="*/ 8620803 w 12886034"/>
              <a:gd name="connsiteY19" fmla="*/ 2173114 h 4808525"/>
              <a:gd name="connsiteX20" fmla="*/ 9366208 w 12886034"/>
              <a:gd name="connsiteY20" fmla="*/ 1377459 h 4808525"/>
              <a:gd name="connsiteX21" fmla="*/ 8620803 w 12886034"/>
              <a:gd name="connsiteY21" fmla="*/ 581803 h 4808525"/>
              <a:gd name="connsiteX22" fmla="*/ 7875400 w 12886034"/>
              <a:gd name="connsiteY22" fmla="*/ 1377459 h 4808525"/>
              <a:gd name="connsiteX23" fmla="*/ 8620803 w 12886034"/>
              <a:gd name="connsiteY23" fmla="*/ 2173114 h 4808525"/>
              <a:gd name="connsiteX24" fmla="*/ 7090232 w 12886034"/>
              <a:gd name="connsiteY24" fmla="*/ 2173114 h 4808525"/>
              <a:gd name="connsiteX25" fmla="*/ 7725761 w 12886034"/>
              <a:gd name="connsiteY25" fmla="*/ 1674126 h 4808525"/>
              <a:gd name="connsiteX26" fmla="*/ 7319399 w 12886034"/>
              <a:gd name="connsiteY26" fmla="*/ 1214973 h 4808525"/>
              <a:gd name="connsiteX27" fmla="*/ 7026051 w 12886034"/>
              <a:gd name="connsiteY27" fmla="*/ 1141592 h 4808525"/>
              <a:gd name="connsiteX28" fmla="*/ 6815371 w 12886034"/>
              <a:gd name="connsiteY28" fmla="*/ 939621 h 4808525"/>
              <a:gd name="connsiteX29" fmla="*/ 7074884 w 12886034"/>
              <a:gd name="connsiteY29" fmla="*/ 743590 h 4808525"/>
              <a:gd name="connsiteX30" fmla="*/ 7386370 w 12886034"/>
              <a:gd name="connsiteY30" fmla="*/ 1037462 h 4808525"/>
              <a:gd name="connsiteX31" fmla="*/ 7691926 w 12886034"/>
              <a:gd name="connsiteY31" fmla="*/ 945561 h 4808525"/>
              <a:gd name="connsiteX32" fmla="*/ 7105231 w 12886034"/>
              <a:gd name="connsiteY32" fmla="*/ 581454 h 4808525"/>
              <a:gd name="connsiteX33" fmla="*/ 6521674 w 12886034"/>
              <a:gd name="connsiteY33" fmla="*/ 1022087 h 4808525"/>
              <a:gd name="connsiteX34" fmla="*/ 6891411 w 12886034"/>
              <a:gd name="connsiteY34" fmla="*/ 1462720 h 4808525"/>
              <a:gd name="connsiteX35" fmla="*/ 7196967 w 12886034"/>
              <a:gd name="connsiteY35" fmla="*/ 1539245 h 4808525"/>
              <a:gd name="connsiteX36" fmla="*/ 7432064 w 12886034"/>
              <a:gd name="connsiteY36" fmla="*/ 1765677 h 4808525"/>
              <a:gd name="connsiteX37" fmla="*/ 7129647 w 12886034"/>
              <a:gd name="connsiteY37" fmla="*/ 2010628 h 4808525"/>
              <a:gd name="connsiteX38" fmla="*/ 6781536 w 12886034"/>
              <a:gd name="connsiteY38" fmla="*/ 1655606 h 4808525"/>
              <a:gd name="connsiteX39" fmla="*/ 6457842 w 12886034"/>
              <a:gd name="connsiteY39" fmla="*/ 1747506 h 4808525"/>
              <a:gd name="connsiteX40" fmla="*/ 7090232 w 12886034"/>
              <a:gd name="connsiteY40" fmla="*/ 2173114 h 4808525"/>
              <a:gd name="connsiteX41" fmla="*/ 5363978 w 12886034"/>
              <a:gd name="connsiteY41" fmla="*/ 2142364 h 4808525"/>
              <a:gd name="connsiteX42" fmla="*/ 5363978 w 12886034"/>
              <a:gd name="connsiteY42" fmla="*/ 1153823 h 4808525"/>
              <a:gd name="connsiteX43" fmla="*/ 5666395 w 12886034"/>
              <a:gd name="connsiteY43" fmla="*/ 795655 h 4808525"/>
              <a:gd name="connsiteX44" fmla="*/ 5926258 w 12886034"/>
              <a:gd name="connsiteY44" fmla="*/ 1095467 h 4808525"/>
              <a:gd name="connsiteX45" fmla="*/ 5926258 w 12886034"/>
              <a:gd name="connsiteY45" fmla="*/ 2142364 h 4808525"/>
              <a:gd name="connsiteX46" fmla="*/ 6286926 w 12886034"/>
              <a:gd name="connsiteY46" fmla="*/ 2142364 h 4808525"/>
              <a:gd name="connsiteX47" fmla="*/ 6286926 w 12886034"/>
              <a:gd name="connsiteY47" fmla="*/ 1092672 h 4808525"/>
              <a:gd name="connsiteX48" fmla="*/ 5804175 w 12886034"/>
              <a:gd name="connsiteY48" fmla="*/ 581454 h 4808525"/>
              <a:gd name="connsiteX49" fmla="*/ 5382465 w 12886034"/>
              <a:gd name="connsiteY49" fmla="*/ 804741 h 4808525"/>
              <a:gd name="connsiteX50" fmla="*/ 5363978 w 12886034"/>
              <a:gd name="connsiteY50" fmla="*/ 804741 h 4808525"/>
              <a:gd name="connsiteX51" fmla="*/ 5363978 w 12886034"/>
              <a:gd name="connsiteY51" fmla="*/ 611854 h 4808525"/>
              <a:gd name="connsiteX52" fmla="*/ 5003310 w 12886034"/>
              <a:gd name="connsiteY52" fmla="*/ 611854 h 4808525"/>
              <a:gd name="connsiteX53" fmla="*/ 5003310 w 12886034"/>
              <a:gd name="connsiteY53" fmla="*/ 2142015 h 4808525"/>
              <a:gd name="connsiteX54" fmla="*/ 5363978 w 12886034"/>
              <a:gd name="connsiteY54" fmla="*/ 2142015 h 4808525"/>
              <a:gd name="connsiteX55" fmla="*/ 3790851 w 12886034"/>
              <a:gd name="connsiteY55" fmla="*/ 2142364 h 4808525"/>
              <a:gd name="connsiteX56" fmla="*/ 3790851 w 12886034"/>
              <a:gd name="connsiteY56" fmla="*/ 1153823 h 4808525"/>
              <a:gd name="connsiteX57" fmla="*/ 4093268 w 12886034"/>
              <a:gd name="connsiteY57" fmla="*/ 795655 h 4808525"/>
              <a:gd name="connsiteX58" fmla="*/ 4352782 w 12886034"/>
              <a:gd name="connsiteY58" fmla="*/ 1095467 h 4808525"/>
              <a:gd name="connsiteX59" fmla="*/ 4352782 w 12886034"/>
              <a:gd name="connsiteY59" fmla="*/ 2142364 h 4808525"/>
              <a:gd name="connsiteX60" fmla="*/ 4713450 w 12886034"/>
              <a:gd name="connsiteY60" fmla="*/ 2142364 h 4808525"/>
              <a:gd name="connsiteX61" fmla="*/ 4713450 w 12886034"/>
              <a:gd name="connsiteY61" fmla="*/ 1092672 h 4808525"/>
              <a:gd name="connsiteX62" fmla="*/ 4230699 w 12886034"/>
              <a:gd name="connsiteY62" fmla="*/ 581454 h 4808525"/>
              <a:gd name="connsiteX63" fmla="*/ 3808990 w 12886034"/>
              <a:gd name="connsiteY63" fmla="*/ 804741 h 4808525"/>
              <a:gd name="connsiteX64" fmla="*/ 3790503 w 12886034"/>
              <a:gd name="connsiteY64" fmla="*/ 804741 h 4808525"/>
              <a:gd name="connsiteX65" fmla="*/ 3790503 w 12886034"/>
              <a:gd name="connsiteY65" fmla="*/ 0 h 4808525"/>
              <a:gd name="connsiteX66" fmla="*/ 3429835 w 12886034"/>
              <a:gd name="connsiteY66" fmla="*/ 0 h 4808525"/>
              <a:gd name="connsiteX67" fmla="*/ 3429835 w 12886034"/>
              <a:gd name="connsiteY67" fmla="*/ 2142364 h 4808525"/>
              <a:gd name="connsiteX68" fmla="*/ 3790851 w 12886034"/>
              <a:gd name="connsiteY68" fmla="*/ 2142364 h 4808525"/>
              <a:gd name="connsiteX69" fmla="*/ 2470960 w 12886034"/>
              <a:gd name="connsiteY69" fmla="*/ 2004688 h 4808525"/>
              <a:gd name="connsiteX70" fmla="*/ 2104362 w 12886034"/>
              <a:gd name="connsiteY70" fmla="*/ 1377109 h 4808525"/>
              <a:gd name="connsiteX71" fmla="*/ 2470960 w 12886034"/>
              <a:gd name="connsiteY71" fmla="*/ 749530 h 4808525"/>
              <a:gd name="connsiteX72" fmla="*/ 2837558 w 12886034"/>
              <a:gd name="connsiteY72" fmla="*/ 1377109 h 4808525"/>
              <a:gd name="connsiteX73" fmla="*/ 2470960 w 12886034"/>
              <a:gd name="connsiteY73" fmla="*/ 2004688 h 4808525"/>
              <a:gd name="connsiteX74" fmla="*/ 2470960 w 12886034"/>
              <a:gd name="connsiteY74" fmla="*/ 2173114 h 4808525"/>
              <a:gd name="connsiteX75" fmla="*/ 3216364 w 12886034"/>
              <a:gd name="connsiteY75" fmla="*/ 1377459 h 4808525"/>
              <a:gd name="connsiteX76" fmla="*/ 2470960 w 12886034"/>
              <a:gd name="connsiteY76" fmla="*/ 581803 h 4808525"/>
              <a:gd name="connsiteX77" fmla="*/ 1725556 w 12886034"/>
              <a:gd name="connsiteY77" fmla="*/ 1377459 h 4808525"/>
              <a:gd name="connsiteX78" fmla="*/ 2470960 w 12886034"/>
              <a:gd name="connsiteY78" fmla="*/ 2173114 h 4808525"/>
              <a:gd name="connsiteX79" fmla="*/ 802957 w 12886034"/>
              <a:gd name="connsiteY79" fmla="*/ 2191284 h 4808525"/>
              <a:gd name="connsiteX80" fmla="*/ 1511736 w 12886034"/>
              <a:gd name="connsiteY80" fmla="*/ 1484385 h 4808525"/>
              <a:gd name="connsiteX81" fmla="*/ 1511736 w 12886034"/>
              <a:gd name="connsiteY81" fmla="*/ 0 h 4808525"/>
              <a:gd name="connsiteX82" fmla="*/ 1132930 w 12886034"/>
              <a:gd name="connsiteY82" fmla="*/ 0 h 4808525"/>
              <a:gd name="connsiteX83" fmla="*/ 1132930 w 12886034"/>
              <a:gd name="connsiteY83" fmla="*/ 1582225 h 4808525"/>
              <a:gd name="connsiteX84" fmla="*/ 802957 w 12886034"/>
              <a:gd name="connsiteY84" fmla="*/ 1992458 h 4808525"/>
              <a:gd name="connsiteX85" fmla="*/ 472984 w 12886034"/>
              <a:gd name="connsiteY85" fmla="*/ 1551825 h 4808525"/>
              <a:gd name="connsiteX86" fmla="*/ 472984 w 12886034"/>
              <a:gd name="connsiteY86" fmla="*/ 1257953 h 4808525"/>
              <a:gd name="connsiteX87" fmla="*/ 94178 w 12886034"/>
              <a:gd name="connsiteY87" fmla="*/ 1352649 h 4808525"/>
              <a:gd name="connsiteX88" fmla="*/ 94178 w 12886034"/>
              <a:gd name="connsiteY88" fmla="*/ 1484385 h 4808525"/>
              <a:gd name="connsiteX89" fmla="*/ 802957 w 12886034"/>
              <a:gd name="connsiteY89" fmla="*/ 2191284 h 4808525"/>
              <a:gd name="connsiteX90" fmla="*/ 11963087 w 12886034"/>
              <a:gd name="connsiteY90" fmla="*/ 4759256 h 4808525"/>
              <a:gd name="connsiteX91" fmla="*/ 11963087 w 12886034"/>
              <a:gd name="connsiteY91" fmla="*/ 3770714 h 4808525"/>
              <a:gd name="connsiteX92" fmla="*/ 12265504 w 12886034"/>
              <a:gd name="connsiteY92" fmla="*/ 3412547 h 4808525"/>
              <a:gd name="connsiteX93" fmla="*/ 12525366 w 12886034"/>
              <a:gd name="connsiteY93" fmla="*/ 3712359 h 4808525"/>
              <a:gd name="connsiteX94" fmla="*/ 12525366 w 12886034"/>
              <a:gd name="connsiteY94" fmla="*/ 4759256 h 4808525"/>
              <a:gd name="connsiteX95" fmla="*/ 12886035 w 12886034"/>
              <a:gd name="connsiteY95" fmla="*/ 4759256 h 4808525"/>
              <a:gd name="connsiteX96" fmla="*/ 12886035 w 12886034"/>
              <a:gd name="connsiteY96" fmla="*/ 3709564 h 4808525"/>
              <a:gd name="connsiteX97" fmla="*/ 12403283 w 12886034"/>
              <a:gd name="connsiteY97" fmla="*/ 3198346 h 4808525"/>
              <a:gd name="connsiteX98" fmla="*/ 11981574 w 12886034"/>
              <a:gd name="connsiteY98" fmla="*/ 3421632 h 4808525"/>
              <a:gd name="connsiteX99" fmla="*/ 11963436 w 12886034"/>
              <a:gd name="connsiteY99" fmla="*/ 3421632 h 4808525"/>
              <a:gd name="connsiteX100" fmla="*/ 11963436 w 12886034"/>
              <a:gd name="connsiteY100" fmla="*/ 3228746 h 4808525"/>
              <a:gd name="connsiteX101" fmla="*/ 11602768 w 12886034"/>
              <a:gd name="connsiteY101" fmla="*/ 3228746 h 4808525"/>
              <a:gd name="connsiteX102" fmla="*/ 11602768 w 12886034"/>
              <a:gd name="connsiteY102" fmla="*/ 4758906 h 4808525"/>
              <a:gd name="connsiteX103" fmla="*/ 11963087 w 12886034"/>
              <a:gd name="connsiteY103" fmla="*/ 4758906 h 4808525"/>
              <a:gd name="connsiteX104" fmla="*/ 10643544 w 12886034"/>
              <a:gd name="connsiteY104" fmla="*/ 4621580 h 4808525"/>
              <a:gd name="connsiteX105" fmla="*/ 10276946 w 12886034"/>
              <a:gd name="connsiteY105" fmla="*/ 3994001 h 4808525"/>
              <a:gd name="connsiteX106" fmla="*/ 10643544 w 12886034"/>
              <a:gd name="connsiteY106" fmla="*/ 3366422 h 4808525"/>
              <a:gd name="connsiteX107" fmla="*/ 11010143 w 12886034"/>
              <a:gd name="connsiteY107" fmla="*/ 3994001 h 4808525"/>
              <a:gd name="connsiteX108" fmla="*/ 10643544 w 12886034"/>
              <a:gd name="connsiteY108" fmla="*/ 4621580 h 4808525"/>
              <a:gd name="connsiteX109" fmla="*/ 10643544 w 12886034"/>
              <a:gd name="connsiteY109" fmla="*/ 4790006 h 4808525"/>
              <a:gd name="connsiteX110" fmla="*/ 11388948 w 12886034"/>
              <a:gd name="connsiteY110" fmla="*/ 3994350 h 4808525"/>
              <a:gd name="connsiteX111" fmla="*/ 10643544 w 12886034"/>
              <a:gd name="connsiteY111" fmla="*/ 3198695 h 4808525"/>
              <a:gd name="connsiteX112" fmla="*/ 9898141 w 12886034"/>
              <a:gd name="connsiteY112" fmla="*/ 3994350 h 4808525"/>
              <a:gd name="connsiteX113" fmla="*/ 10643544 w 12886034"/>
              <a:gd name="connsiteY113" fmla="*/ 4790006 h 4808525"/>
              <a:gd name="connsiteX114" fmla="*/ 9112972 w 12886034"/>
              <a:gd name="connsiteY114" fmla="*/ 4790006 h 4808525"/>
              <a:gd name="connsiteX115" fmla="*/ 9748502 w 12886034"/>
              <a:gd name="connsiteY115" fmla="*/ 4291018 h 4808525"/>
              <a:gd name="connsiteX116" fmla="*/ 9342140 w 12886034"/>
              <a:gd name="connsiteY116" fmla="*/ 3831865 h 4808525"/>
              <a:gd name="connsiteX117" fmla="*/ 9048792 w 12886034"/>
              <a:gd name="connsiteY117" fmla="*/ 3758484 h 4808525"/>
              <a:gd name="connsiteX118" fmla="*/ 8838111 w 12886034"/>
              <a:gd name="connsiteY118" fmla="*/ 3556513 h 4808525"/>
              <a:gd name="connsiteX119" fmla="*/ 9097974 w 12886034"/>
              <a:gd name="connsiteY119" fmla="*/ 3360482 h 4808525"/>
              <a:gd name="connsiteX120" fmla="*/ 9409460 w 12886034"/>
              <a:gd name="connsiteY120" fmla="*/ 3654354 h 4808525"/>
              <a:gd name="connsiteX121" fmla="*/ 9715016 w 12886034"/>
              <a:gd name="connsiteY121" fmla="*/ 3562453 h 4808525"/>
              <a:gd name="connsiteX122" fmla="*/ 9128320 w 12886034"/>
              <a:gd name="connsiteY122" fmla="*/ 3198346 h 4808525"/>
              <a:gd name="connsiteX123" fmla="*/ 8544763 w 12886034"/>
              <a:gd name="connsiteY123" fmla="*/ 3638978 h 4808525"/>
              <a:gd name="connsiteX124" fmla="*/ 8914500 w 12886034"/>
              <a:gd name="connsiteY124" fmla="*/ 4079611 h 4808525"/>
              <a:gd name="connsiteX125" fmla="*/ 9220057 w 12886034"/>
              <a:gd name="connsiteY125" fmla="*/ 4156137 h 4808525"/>
              <a:gd name="connsiteX126" fmla="*/ 9455153 w 12886034"/>
              <a:gd name="connsiteY126" fmla="*/ 4382569 h 4808525"/>
              <a:gd name="connsiteX127" fmla="*/ 9152737 w 12886034"/>
              <a:gd name="connsiteY127" fmla="*/ 4627520 h 4808525"/>
              <a:gd name="connsiteX128" fmla="*/ 8804626 w 12886034"/>
              <a:gd name="connsiteY128" fmla="*/ 4272498 h 4808525"/>
              <a:gd name="connsiteX129" fmla="*/ 8480931 w 12886034"/>
              <a:gd name="connsiteY129" fmla="*/ 4364399 h 4808525"/>
              <a:gd name="connsiteX130" fmla="*/ 9112972 w 12886034"/>
              <a:gd name="connsiteY130" fmla="*/ 4790006 h 4808525"/>
              <a:gd name="connsiteX131" fmla="*/ 7386719 w 12886034"/>
              <a:gd name="connsiteY131" fmla="*/ 4759256 h 4808525"/>
              <a:gd name="connsiteX132" fmla="*/ 7386719 w 12886034"/>
              <a:gd name="connsiteY132" fmla="*/ 3770714 h 4808525"/>
              <a:gd name="connsiteX133" fmla="*/ 7689136 w 12886034"/>
              <a:gd name="connsiteY133" fmla="*/ 3412547 h 4808525"/>
              <a:gd name="connsiteX134" fmla="*/ 7948649 w 12886034"/>
              <a:gd name="connsiteY134" fmla="*/ 3712359 h 4808525"/>
              <a:gd name="connsiteX135" fmla="*/ 7948649 w 12886034"/>
              <a:gd name="connsiteY135" fmla="*/ 4759256 h 4808525"/>
              <a:gd name="connsiteX136" fmla="*/ 8309318 w 12886034"/>
              <a:gd name="connsiteY136" fmla="*/ 4759256 h 4808525"/>
              <a:gd name="connsiteX137" fmla="*/ 8309318 w 12886034"/>
              <a:gd name="connsiteY137" fmla="*/ 3709564 h 4808525"/>
              <a:gd name="connsiteX138" fmla="*/ 7826566 w 12886034"/>
              <a:gd name="connsiteY138" fmla="*/ 3198346 h 4808525"/>
              <a:gd name="connsiteX139" fmla="*/ 7404857 w 12886034"/>
              <a:gd name="connsiteY139" fmla="*/ 3421632 h 4808525"/>
              <a:gd name="connsiteX140" fmla="*/ 7386370 w 12886034"/>
              <a:gd name="connsiteY140" fmla="*/ 3421632 h 4808525"/>
              <a:gd name="connsiteX141" fmla="*/ 7386370 w 12886034"/>
              <a:gd name="connsiteY141" fmla="*/ 3228746 h 4808525"/>
              <a:gd name="connsiteX142" fmla="*/ 7025702 w 12886034"/>
              <a:gd name="connsiteY142" fmla="*/ 3228746 h 4808525"/>
              <a:gd name="connsiteX143" fmla="*/ 7025702 w 12886034"/>
              <a:gd name="connsiteY143" fmla="*/ 4758906 h 4808525"/>
              <a:gd name="connsiteX144" fmla="*/ 7386719 w 12886034"/>
              <a:gd name="connsiteY144" fmla="*/ 4758906 h 4808525"/>
              <a:gd name="connsiteX145" fmla="*/ 5813593 w 12886034"/>
              <a:gd name="connsiteY145" fmla="*/ 4759256 h 4808525"/>
              <a:gd name="connsiteX146" fmla="*/ 5813593 w 12886034"/>
              <a:gd name="connsiteY146" fmla="*/ 3770714 h 4808525"/>
              <a:gd name="connsiteX147" fmla="*/ 6116010 w 12886034"/>
              <a:gd name="connsiteY147" fmla="*/ 3412547 h 4808525"/>
              <a:gd name="connsiteX148" fmla="*/ 6375523 w 12886034"/>
              <a:gd name="connsiteY148" fmla="*/ 3712359 h 4808525"/>
              <a:gd name="connsiteX149" fmla="*/ 6375523 w 12886034"/>
              <a:gd name="connsiteY149" fmla="*/ 4759256 h 4808525"/>
              <a:gd name="connsiteX150" fmla="*/ 6736191 w 12886034"/>
              <a:gd name="connsiteY150" fmla="*/ 4759256 h 4808525"/>
              <a:gd name="connsiteX151" fmla="*/ 6736191 w 12886034"/>
              <a:gd name="connsiteY151" fmla="*/ 3709564 h 4808525"/>
              <a:gd name="connsiteX152" fmla="*/ 6253440 w 12886034"/>
              <a:gd name="connsiteY152" fmla="*/ 3198346 h 4808525"/>
              <a:gd name="connsiteX153" fmla="*/ 5831730 w 12886034"/>
              <a:gd name="connsiteY153" fmla="*/ 3421632 h 4808525"/>
              <a:gd name="connsiteX154" fmla="*/ 5813243 w 12886034"/>
              <a:gd name="connsiteY154" fmla="*/ 3421632 h 4808525"/>
              <a:gd name="connsiteX155" fmla="*/ 5813243 w 12886034"/>
              <a:gd name="connsiteY155" fmla="*/ 2616892 h 4808525"/>
              <a:gd name="connsiteX156" fmla="*/ 5452576 w 12886034"/>
              <a:gd name="connsiteY156" fmla="*/ 2616892 h 4808525"/>
              <a:gd name="connsiteX157" fmla="*/ 5452576 w 12886034"/>
              <a:gd name="connsiteY157" fmla="*/ 4759256 h 4808525"/>
              <a:gd name="connsiteX158" fmla="*/ 5813593 w 12886034"/>
              <a:gd name="connsiteY158" fmla="*/ 4759256 h 4808525"/>
              <a:gd name="connsiteX159" fmla="*/ 4493701 w 12886034"/>
              <a:gd name="connsiteY159" fmla="*/ 4621580 h 4808525"/>
              <a:gd name="connsiteX160" fmla="*/ 4127103 w 12886034"/>
              <a:gd name="connsiteY160" fmla="*/ 3994001 h 4808525"/>
              <a:gd name="connsiteX161" fmla="*/ 4493701 w 12886034"/>
              <a:gd name="connsiteY161" fmla="*/ 3366422 h 4808525"/>
              <a:gd name="connsiteX162" fmla="*/ 4860299 w 12886034"/>
              <a:gd name="connsiteY162" fmla="*/ 3994001 h 4808525"/>
              <a:gd name="connsiteX163" fmla="*/ 4493701 w 12886034"/>
              <a:gd name="connsiteY163" fmla="*/ 4621580 h 4808525"/>
              <a:gd name="connsiteX164" fmla="*/ 4493701 w 12886034"/>
              <a:gd name="connsiteY164" fmla="*/ 4790006 h 4808525"/>
              <a:gd name="connsiteX165" fmla="*/ 5239105 w 12886034"/>
              <a:gd name="connsiteY165" fmla="*/ 3994350 h 4808525"/>
              <a:gd name="connsiteX166" fmla="*/ 4493701 w 12886034"/>
              <a:gd name="connsiteY166" fmla="*/ 3198695 h 4808525"/>
              <a:gd name="connsiteX167" fmla="*/ 3748297 w 12886034"/>
              <a:gd name="connsiteY167" fmla="*/ 3994350 h 4808525"/>
              <a:gd name="connsiteX168" fmla="*/ 4493701 w 12886034"/>
              <a:gd name="connsiteY168" fmla="*/ 4790006 h 4808525"/>
              <a:gd name="connsiteX169" fmla="*/ 2825698 w 12886034"/>
              <a:gd name="connsiteY169" fmla="*/ 4808176 h 4808525"/>
              <a:gd name="connsiteX170" fmla="*/ 3534477 w 12886034"/>
              <a:gd name="connsiteY170" fmla="*/ 4101276 h 4808525"/>
              <a:gd name="connsiteX171" fmla="*/ 3534477 w 12886034"/>
              <a:gd name="connsiteY171" fmla="*/ 2616892 h 4808525"/>
              <a:gd name="connsiteX172" fmla="*/ 3155671 w 12886034"/>
              <a:gd name="connsiteY172" fmla="*/ 2616892 h 4808525"/>
              <a:gd name="connsiteX173" fmla="*/ 3155671 w 12886034"/>
              <a:gd name="connsiteY173" fmla="*/ 4199117 h 4808525"/>
              <a:gd name="connsiteX174" fmla="*/ 2825698 w 12886034"/>
              <a:gd name="connsiteY174" fmla="*/ 4609350 h 4808525"/>
              <a:gd name="connsiteX175" fmla="*/ 2495725 w 12886034"/>
              <a:gd name="connsiteY175" fmla="*/ 4168717 h 4808525"/>
              <a:gd name="connsiteX176" fmla="*/ 2495725 w 12886034"/>
              <a:gd name="connsiteY176" fmla="*/ 3874845 h 4808525"/>
              <a:gd name="connsiteX177" fmla="*/ 2116919 w 12886034"/>
              <a:gd name="connsiteY177" fmla="*/ 3969890 h 4808525"/>
              <a:gd name="connsiteX178" fmla="*/ 2116919 w 12886034"/>
              <a:gd name="connsiteY178" fmla="*/ 4101626 h 4808525"/>
              <a:gd name="connsiteX179" fmla="*/ 2825698 w 12886034"/>
              <a:gd name="connsiteY179" fmla="*/ 4808176 h 4808525"/>
              <a:gd name="connsiteX180" fmla="*/ 809585 w 12886034"/>
              <a:gd name="connsiteY180" fmla="*/ 4584890 h 4808525"/>
              <a:gd name="connsiteX181" fmla="*/ 335903 w 12886034"/>
              <a:gd name="connsiteY181" fmla="*/ 4092191 h 4808525"/>
              <a:gd name="connsiteX182" fmla="*/ 522166 w 12886034"/>
              <a:gd name="connsiteY182" fmla="*/ 3703623 h 4808525"/>
              <a:gd name="connsiteX183" fmla="*/ 1212807 w 12886034"/>
              <a:gd name="connsiteY183" fmla="*/ 4459444 h 4808525"/>
              <a:gd name="connsiteX184" fmla="*/ 809585 w 12886034"/>
              <a:gd name="connsiteY184" fmla="*/ 4584890 h 4808525"/>
              <a:gd name="connsiteX185" fmla="*/ 1178973 w 12886034"/>
              <a:gd name="connsiteY185" fmla="*/ 3489073 h 4808525"/>
              <a:gd name="connsiteX186" fmla="*/ 1579056 w 12886034"/>
              <a:gd name="connsiteY186" fmla="*/ 3880785 h 4808525"/>
              <a:gd name="connsiteX187" fmla="*/ 1481390 w 12886034"/>
              <a:gd name="connsiteY187" fmla="*/ 4208202 h 4808525"/>
              <a:gd name="connsiteX188" fmla="*/ 882834 w 12886034"/>
              <a:gd name="connsiteY188" fmla="*/ 3547078 h 4808525"/>
              <a:gd name="connsiteX189" fmla="*/ 1178973 w 12886034"/>
              <a:gd name="connsiteY189" fmla="*/ 3489073 h 4808525"/>
              <a:gd name="connsiteX190" fmla="*/ 809585 w 12886034"/>
              <a:gd name="connsiteY190" fmla="*/ 2730108 h 4808525"/>
              <a:gd name="connsiteX191" fmla="*/ 1096654 w 12886034"/>
              <a:gd name="connsiteY191" fmla="*/ 3023979 h 4808525"/>
              <a:gd name="connsiteX192" fmla="*/ 800167 w 12886034"/>
              <a:gd name="connsiteY192" fmla="*/ 3458672 h 4808525"/>
              <a:gd name="connsiteX193" fmla="*/ 668666 w 12886034"/>
              <a:gd name="connsiteY193" fmla="*/ 3311911 h 4808525"/>
              <a:gd name="connsiteX194" fmla="*/ 519027 w 12886034"/>
              <a:gd name="connsiteY194" fmla="*/ 3008954 h 4808525"/>
              <a:gd name="connsiteX195" fmla="*/ 809585 w 12886034"/>
              <a:gd name="connsiteY195" fmla="*/ 2730108 h 4808525"/>
              <a:gd name="connsiteX196" fmla="*/ 1576266 w 12886034"/>
              <a:gd name="connsiteY196" fmla="*/ 4312333 h 4808525"/>
              <a:gd name="connsiteX197" fmla="*/ 1835779 w 12886034"/>
              <a:gd name="connsiteY197" fmla="*/ 3715504 h 4808525"/>
              <a:gd name="connsiteX198" fmla="*/ 1435696 w 12886034"/>
              <a:gd name="connsiteY198" fmla="*/ 3326937 h 4808525"/>
              <a:gd name="connsiteX199" fmla="*/ 1069098 w 12886034"/>
              <a:gd name="connsiteY199" fmla="*/ 3400317 h 4808525"/>
              <a:gd name="connsiteX200" fmla="*/ 1062820 w 12886034"/>
              <a:gd name="connsiteY200" fmla="*/ 3388087 h 4808525"/>
              <a:gd name="connsiteX201" fmla="*/ 1392793 w 12886034"/>
              <a:gd name="connsiteY201" fmla="*/ 2984144 h 4808525"/>
              <a:gd name="connsiteX202" fmla="*/ 818305 w 12886034"/>
              <a:gd name="connsiteY202" fmla="*/ 2567971 h 4808525"/>
              <a:gd name="connsiteX203" fmla="*/ 189054 w 12886034"/>
              <a:gd name="connsiteY203" fmla="*/ 3097360 h 4808525"/>
              <a:gd name="connsiteX204" fmla="*/ 433569 w 12886034"/>
              <a:gd name="connsiteY204" fmla="*/ 3608578 h 4808525"/>
              <a:gd name="connsiteX205" fmla="*/ 436708 w 12886034"/>
              <a:gd name="connsiteY205" fmla="*/ 3614868 h 4808525"/>
              <a:gd name="connsiteX206" fmla="*/ 0 w 12886034"/>
              <a:gd name="connsiteY206" fmla="*/ 4230217 h 4808525"/>
              <a:gd name="connsiteX207" fmla="*/ 613903 w 12886034"/>
              <a:gd name="connsiteY207" fmla="*/ 4808526 h 4808525"/>
              <a:gd name="connsiteX208" fmla="*/ 1304544 w 12886034"/>
              <a:gd name="connsiteY208" fmla="*/ 4560779 h 4808525"/>
              <a:gd name="connsiteX209" fmla="*/ 1488017 w 12886034"/>
              <a:gd name="connsiteY209" fmla="*/ 4759605 h 4808525"/>
              <a:gd name="connsiteX210" fmla="*/ 1967629 w 12886034"/>
              <a:gd name="connsiteY210" fmla="*/ 4759605 h 4808525"/>
              <a:gd name="connsiteX211" fmla="*/ 1967629 w 12886034"/>
              <a:gd name="connsiteY211" fmla="*/ 4744230 h 4808525"/>
              <a:gd name="connsiteX212" fmla="*/ 1576266 w 12886034"/>
              <a:gd name="connsiteY212" fmla="*/ 4312333 h 4808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12886034" h="4808525">
                <a:moveTo>
                  <a:pt x="9940695" y="2142364"/>
                </a:moveTo>
                <a:lnTo>
                  <a:pt x="9940695" y="1153823"/>
                </a:lnTo>
                <a:cubicBezTo>
                  <a:pt x="9940695" y="927391"/>
                  <a:pt x="10056848" y="795655"/>
                  <a:pt x="10243112" y="795655"/>
                </a:cubicBezTo>
                <a:cubicBezTo>
                  <a:pt x="10423446" y="795655"/>
                  <a:pt x="10502975" y="915161"/>
                  <a:pt x="10502975" y="1095467"/>
                </a:cubicBezTo>
                <a:lnTo>
                  <a:pt x="10502975" y="2142364"/>
                </a:lnTo>
                <a:lnTo>
                  <a:pt x="10863643" y="2142364"/>
                </a:lnTo>
                <a:lnTo>
                  <a:pt x="10863643" y="1092672"/>
                </a:lnTo>
                <a:cubicBezTo>
                  <a:pt x="10863643" y="777485"/>
                  <a:pt x="10698656" y="581454"/>
                  <a:pt x="10380892" y="581454"/>
                </a:cubicBezTo>
                <a:cubicBezTo>
                  <a:pt x="10154863" y="581454"/>
                  <a:pt x="10029641" y="679295"/>
                  <a:pt x="9959182" y="804741"/>
                </a:cubicBezTo>
                <a:lnTo>
                  <a:pt x="9940695" y="804741"/>
                </a:lnTo>
                <a:lnTo>
                  <a:pt x="9940695" y="611854"/>
                </a:lnTo>
                <a:lnTo>
                  <a:pt x="9580028" y="611854"/>
                </a:lnTo>
                <a:lnTo>
                  <a:pt x="9580028" y="2142015"/>
                </a:lnTo>
                <a:lnTo>
                  <a:pt x="9940695" y="2142015"/>
                </a:lnTo>
                <a:close/>
                <a:moveTo>
                  <a:pt x="8620803" y="2004688"/>
                </a:moveTo>
                <a:cubicBezTo>
                  <a:pt x="8385707" y="2004688"/>
                  <a:pt x="8254206" y="1781401"/>
                  <a:pt x="8254206" y="1377109"/>
                </a:cubicBezTo>
                <a:cubicBezTo>
                  <a:pt x="8254206" y="966877"/>
                  <a:pt x="8385707" y="749530"/>
                  <a:pt x="8620803" y="749530"/>
                </a:cubicBezTo>
                <a:cubicBezTo>
                  <a:pt x="8855901" y="749530"/>
                  <a:pt x="8987401" y="970022"/>
                  <a:pt x="8987401" y="1377109"/>
                </a:cubicBezTo>
                <a:cubicBezTo>
                  <a:pt x="8987401" y="1787342"/>
                  <a:pt x="8855901" y="2004688"/>
                  <a:pt x="8620803" y="2004688"/>
                </a:cubicBezTo>
                <a:moveTo>
                  <a:pt x="8620803" y="2173114"/>
                </a:moveTo>
                <a:cubicBezTo>
                  <a:pt x="9100416" y="2173114"/>
                  <a:pt x="9366208" y="1814947"/>
                  <a:pt x="9366208" y="1377459"/>
                </a:cubicBezTo>
                <a:cubicBezTo>
                  <a:pt x="9366208" y="939970"/>
                  <a:pt x="9100416" y="581803"/>
                  <a:pt x="8620803" y="581803"/>
                </a:cubicBezTo>
                <a:cubicBezTo>
                  <a:pt x="8141192" y="581803"/>
                  <a:pt x="7875400" y="939970"/>
                  <a:pt x="7875400" y="1377459"/>
                </a:cubicBezTo>
                <a:cubicBezTo>
                  <a:pt x="7875400" y="1814947"/>
                  <a:pt x="8141192" y="2173114"/>
                  <a:pt x="8620803" y="2173114"/>
                </a:cubicBezTo>
                <a:moveTo>
                  <a:pt x="7090232" y="2173114"/>
                </a:moveTo>
                <a:cubicBezTo>
                  <a:pt x="7502524" y="2173114"/>
                  <a:pt x="7725761" y="1980228"/>
                  <a:pt x="7725761" y="1674126"/>
                </a:cubicBezTo>
                <a:cubicBezTo>
                  <a:pt x="7725761" y="1386544"/>
                  <a:pt x="7527289" y="1267038"/>
                  <a:pt x="7319399" y="1214973"/>
                </a:cubicBezTo>
                <a:lnTo>
                  <a:pt x="7026051" y="1141592"/>
                </a:lnTo>
                <a:cubicBezTo>
                  <a:pt x="6879551" y="1104902"/>
                  <a:pt x="6815371" y="1037462"/>
                  <a:pt x="6815371" y="939621"/>
                </a:cubicBezTo>
                <a:cubicBezTo>
                  <a:pt x="6815371" y="817320"/>
                  <a:pt x="6919316" y="743590"/>
                  <a:pt x="7074884" y="743590"/>
                </a:cubicBezTo>
                <a:cubicBezTo>
                  <a:pt x="7258358" y="743590"/>
                  <a:pt x="7371372" y="844576"/>
                  <a:pt x="7386370" y="1037462"/>
                </a:cubicBezTo>
                <a:lnTo>
                  <a:pt x="7691926" y="945561"/>
                </a:lnTo>
                <a:cubicBezTo>
                  <a:pt x="7655302" y="731360"/>
                  <a:pt x="7444621" y="581454"/>
                  <a:pt x="7105231" y="581454"/>
                </a:cubicBezTo>
                <a:cubicBezTo>
                  <a:pt x="6772118" y="581454"/>
                  <a:pt x="6521674" y="722275"/>
                  <a:pt x="6521674" y="1022087"/>
                </a:cubicBezTo>
                <a:cubicBezTo>
                  <a:pt x="6521674" y="1276124"/>
                  <a:pt x="6695729" y="1413799"/>
                  <a:pt x="6891411" y="1462720"/>
                </a:cubicBezTo>
                <a:lnTo>
                  <a:pt x="7196967" y="1539245"/>
                </a:lnTo>
                <a:cubicBezTo>
                  <a:pt x="7358815" y="1579080"/>
                  <a:pt x="7432064" y="1637086"/>
                  <a:pt x="7432064" y="1765677"/>
                </a:cubicBezTo>
                <a:cubicBezTo>
                  <a:pt x="7432064" y="1921873"/>
                  <a:pt x="7322190" y="2010628"/>
                  <a:pt x="7129647" y="2010628"/>
                </a:cubicBezTo>
                <a:cubicBezTo>
                  <a:pt x="6921757" y="2010628"/>
                  <a:pt x="6815022" y="1909643"/>
                  <a:pt x="6781536" y="1655606"/>
                </a:cubicBezTo>
                <a:lnTo>
                  <a:pt x="6457842" y="1747506"/>
                </a:lnTo>
                <a:cubicBezTo>
                  <a:pt x="6475980" y="2010628"/>
                  <a:pt x="6720495" y="2173114"/>
                  <a:pt x="7090232" y="2173114"/>
                </a:cubicBezTo>
                <a:moveTo>
                  <a:pt x="5363978" y="2142364"/>
                </a:moveTo>
                <a:lnTo>
                  <a:pt x="5363978" y="1153823"/>
                </a:lnTo>
                <a:cubicBezTo>
                  <a:pt x="5363978" y="927391"/>
                  <a:pt x="5480132" y="795655"/>
                  <a:pt x="5666395" y="795655"/>
                </a:cubicBezTo>
                <a:cubicBezTo>
                  <a:pt x="5846729" y="795655"/>
                  <a:pt x="5926258" y="915161"/>
                  <a:pt x="5926258" y="1095467"/>
                </a:cubicBezTo>
                <a:lnTo>
                  <a:pt x="5926258" y="2142364"/>
                </a:lnTo>
                <a:lnTo>
                  <a:pt x="6286926" y="2142364"/>
                </a:lnTo>
                <a:lnTo>
                  <a:pt x="6286926" y="1092672"/>
                </a:lnTo>
                <a:cubicBezTo>
                  <a:pt x="6286926" y="777485"/>
                  <a:pt x="6121939" y="581454"/>
                  <a:pt x="5804175" y="581454"/>
                </a:cubicBezTo>
                <a:cubicBezTo>
                  <a:pt x="5578147" y="581454"/>
                  <a:pt x="5452925" y="679295"/>
                  <a:pt x="5382465" y="804741"/>
                </a:cubicBezTo>
                <a:lnTo>
                  <a:pt x="5363978" y="804741"/>
                </a:lnTo>
                <a:lnTo>
                  <a:pt x="5363978" y="611854"/>
                </a:lnTo>
                <a:lnTo>
                  <a:pt x="5003310" y="611854"/>
                </a:lnTo>
                <a:lnTo>
                  <a:pt x="5003310" y="2142015"/>
                </a:lnTo>
                <a:lnTo>
                  <a:pt x="5363978" y="2142015"/>
                </a:lnTo>
                <a:close/>
                <a:moveTo>
                  <a:pt x="3790851" y="2142364"/>
                </a:moveTo>
                <a:lnTo>
                  <a:pt x="3790851" y="1153823"/>
                </a:lnTo>
                <a:cubicBezTo>
                  <a:pt x="3790851" y="927391"/>
                  <a:pt x="3907005" y="795655"/>
                  <a:pt x="4093268" y="795655"/>
                </a:cubicBezTo>
                <a:cubicBezTo>
                  <a:pt x="4273603" y="795655"/>
                  <a:pt x="4352782" y="915161"/>
                  <a:pt x="4352782" y="1095467"/>
                </a:cubicBezTo>
                <a:lnTo>
                  <a:pt x="4352782" y="2142364"/>
                </a:lnTo>
                <a:lnTo>
                  <a:pt x="4713450" y="2142364"/>
                </a:lnTo>
                <a:lnTo>
                  <a:pt x="4713450" y="1092672"/>
                </a:lnTo>
                <a:cubicBezTo>
                  <a:pt x="4713450" y="777485"/>
                  <a:pt x="4548464" y="581454"/>
                  <a:pt x="4230699" y="581454"/>
                </a:cubicBezTo>
                <a:cubicBezTo>
                  <a:pt x="4004671" y="581454"/>
                  <a:pt x="3879449" y="679295"/>
                  <a:pt x="3808990" y="804741"/>
                </a:cubicBezTo>
                <a:lnTo>
                  <a:pt x="3790503" y="804741"/>
                </a:lnTo>
                <a:lnTo>
                  <a:pt x="3790503" y="0"/>
                </a:lnTo>
                <a:lnTo>
                  <a:pt x="3429835" y="0"/>
                </a:lnTo>
                <a:lnTo>
                  <a:pt x="3429835" y="2142364"/>
                </a:lnTo>
                <a:lnTo>
                  <a:pt x="3790851" y="2142364"/>
                </a:lnTo>
                <a:close/>
                <a:moveTo>
                  <a:pt x="2470960" y="2004688"/>
                </a:moveTo>
                <a:cubicBezTo>
                  <a:pt x="2235514" y="2004688"/>
                  <a:pt x="2104362" y="1781401"/>
                  <a:pt x="2104362" y="1377109"/>
                </a:cubicBezTo>
                <a:cubicBezTo>
                  <a:pt x="2104362" y="966877"/>
                  <a:pt x="2235863" y="749530"/>
                  <a:pt x="2470960" y="749530"/>
                </a:cubicBezTo>
                <a:cubicBezTo>
                  <a:pt x="2706057" y="749530"/>
                  <a:pt x="2837558" y="970022"/>
                  <a:pt x="2837558" y="1377109"/>
                </a:cubicBezTo>
                <a:cubicBezTo>
                  <a:pt x="2837906" y="1787342"/>
                  <a:pt x="2706406" y="2004688"/>
                  <a:pt x="2470960" y="2004688"/>
                </a:cubicBezTo>
                <a:moveTo>
                  <a:pt x="2470960" y="2173114"/>
                </a:moveTo>
                <a:cubicBezTo>
                  <a:pt x="2950572" y="2173114"/>
                  <a:pt x="3216364" y="1814947"/>
                  <a:pt x="3216364" y="1377459"/>
                </a:cubicBezTo>
                <a:cubicBezTo>
                  <a:pt x="3216364" y="939970"/>
                  <a:pt x="2950572" y="581803"/>
                  <a:pt x="2470960" y="581803"/>
                </a:cubicBezTo>
                <a:cubicBezTo>
                  <a:pt x="1991348" y="581803"/>
                  <a:pt x="1725556" y="939970"/>
                  <a:pt x="1725556" y="1377459"/>
                </a:cubicBezTo>
                <a:cubicBezTo>
                  <a:pt x="1725556" y="1814947"/>
                  <a:pt x="1991348" y="2173114"/>
                  <a:pt x="2470960" y="2173114"/>
                </a:cubicBezTo>
                <a:moveTo>
                  <a:pt x="802957" y="2191284"/>
                </a:moveTo>
                <a:cubicBezTo>
                  <a:pt x="1313264" y="2191284"/>
                  <a:pt x="1511736" y="1885182"/>
                  <a:pt x="1511736" y="1484385"/>
                </a:cubicBezTo>
                <a:lnTo>
                  <a:pt x="1511736" y="0"/>
                </a:lnTo>
                <a:lnTo>
                  <a:pt x="1132930" y="0"/>
                </a:lnTo>
                <a:lnTo>
                  <a:pt x="1132930" y="1582225"/>
                </a:lnTo>
                <a:cubicBezTo>
                  <a:pt x="1132930" y="1839407"/>
                  <a:pt x="1035264" y="1992458"/>
                  <a:pt x="802957" y="1992458"/>
                </a:cubicBezTo>
                <a:cubicBezTo>
                  <a:pt x="573790" y="1992458"/>
                  <a:pt x="472984" y="1830322"/>
                  <a:pt x="472984" y="1551825"/>
                </a:cubicBezTo>
                <a:lnTo>
                  <a:pt x="472984" y="1257953"/>
                </a:lnTo>
                <a:lnTo>
                  <a:pt x="94178" y="1352649"/>
                </a:lnTo>
                <a:lnTo>
                  <a:pt x="94178" y="1484385"/>
                </a:lnTo>
                <a:cubicBezTo>
                  <a:pt x="94178" y="1885182"/>
                  <a:pt x="292999" y="2191284"/>
                  <a:pt x="802957" y="2191284"/>
                </a:cubicBezTo>
                <a:moveTo>
                  <a:pt x="11963087" y="4759256"/>
                </a:moveTo>
                <a:lnTo>
                  <a:pt x="11963087" y="3770714"/>
                </a:lnTo>
                <a:cubicBezTo>
                  <a:pt x="11963087" y="3544283"/>
                  <a:pt x="12079241" y="3412547"/>
                  <a:pt x="12265504" y="3412547"/>
                </a:cubicBezTo>
                <a:cubicBezTo>
                  <a:pt x="12445838" y="3412547"/>
                  <a:pt x="12525366" y="3532053"/>
                  <a:pt x="12525366" y="3712359"/>
                </a:cubicBezTo>
                <a:lnTo>
                  <a:pt x="12525366" y="4759256"/>
                </a:lnTo>
                <a:lnTo>
                  <a:pt x="12886035" y="4759256"/>
                </a:lnTo>
                <a:lnTo>
                  <a:pt x="12886035" y="3709564"/>
                </a:lnTo>
                <a:cubicBezTo>
                  <a:pt x="12886035" y="3394377"/>
                  <a:pt x="12721048" y="3198346"/>
                  <a:pt x="12403283" y="3198346"/>
                </a:cubicBezTo>
                <a:cubicBezTo>
                  <a:pt x="12177256" y="3198346"/>
                  <a:pt x="12052034" y="3296186"/>
                  <a:pt x="11981574" y="3421632"/>
                </a:cubicBezTo>
                <a:lnTo>
                  <a:pt x="11963436" y="3421632"/>
                </a:lnTo>
                <a:lnTo>
                  <a:pt x="11963436" y="3228746"/>
                </a:lnTo>
                <a:lnTo>
                  <a:pt x="11602768" y="3228746"/>
                </a:lnTo>
                <a:lnTo>
                  <a:pt x="11602768" y="4758906"/>
                </a:lnTo>
                <a:lnTo>
                  <a:pt x="11963087" y="4758906"/>
                </a:lnTo>
                <a:close/>
                <a:moveTo>
                  <a:pt x="10643544" y="4621580"/>
                </a:moveTo>
                <a:cubicBezTo>
                  <a:pt x="10408448" y="4621580"/>
                  <a:pt x="10276946" y="4398293"/>
                  <a:pt x="10276946" y="3994001"/>
                </a:cubicBezTo>
                <a:cubicBezTo>
                  <a:pt x="10276946" y="3583769"/>
                  <a:pt x="10408448" y="3366422"/>
                  <a:pt x="10643544" y="3366422"/>
                </a:cubicBezTo>
                <a:cubicBezTo>
                  <a:pt x="10878641" y="3366422"/>
                  <a:pt x="11010143" y="3586913"/>
                  <a:pt x="11010143" y="3994001"/>
                </a:cubicBezTo>
                <a:cubicBezTo>
                  <a:pt x="11010143" y="4404234"/>
                  <a:pt x="10878641" y="4621580"/>
                  <a:pt x="10643544" y="4621580"/>
                </a:cubicBezTo>
                <a:moveTo>
                  <a:pt x="10643544" y="4790006"/>
                </a:moveTo>
                <a:cubicBezTo>
                  <a:pt x="11123156" y="4790006"/>
                  <a:pt x="11388948" y="4431839"/>
                  <a:pt x="11388948" y="3994350"/>
                </a:cubicBezTo>
                <a:cubicBezTo>
                  <a:pt x="11388948" y="3556513"/>
                  <a:pt x="11123156" y="3198695"/>
                  <a:pt x="10643544" y="3198695"/>
                </a:cubicBezTo>
                <a:cubicBezTo>
                  <a:pt x="10163933" y="3198695"/>
                  <a:pt x="9898141" y="3556862"/>
                  <a:pt x="9898141" y="3994350"/>
                </a:cubicBezTo>
                <a:cubicBezTo>
                  <a:pt x="9898141" y="4431839"/>
                  <a:pt x="10163933" y="4790006"/>
                  <a:pt x="10643544" y="4790006"/>
                </a:cubicBezTo>
                <a:moveTo>
                  <a:pt x="9112972" y="4790006"/>
                </a:moveTo>
                <a:cubicBezTo>
                  <a:pt x="9525264" y="4790006"/>
                  <a:pt x="9748502" y="4597119"/>
                  <a:pt x="9748502" y="4291018"/>
                </a:cubicBezTo>
                <a:cubicBezTo>
                  <a:pt x="9748502" y="4003435"/>
                  <a:pt x="9550029" y="3883930"/>
                  <a:pt x="9342140" y="3831865"/>
                </a:cubicBezTo>
                <a:lnTo>
                  <a:pt x="9048792" y="3758484"/>
                </a:lnTo>
                <a:cubicBezTo>
                  <a:pt x="8902292" y="3721794"/>
                  <a:pt x="8838111" y="3654354"/>
                  <a:pt x="8838111" y="3556513"/>
                </a:cubicBezTo>
                <a:cubicBezTo>
                  <a:pt x="8838111" y="3434212"/>
                  <a:pt x="8942056" y="3360482"/>
                  <a:pt x="9097974" y="3360482"/>
                </a:cubicBezTo>
                <a:cubicBezTo>
                  <a:pt x="9281446" y="3360482"/>
                  <a:pt x="9394461" y="3461468"/>
                  <a:pt x="9409460" y="3654354"/>
                </a:cubicBezTo>
                <a:lnTo>
                  <a:pt x="9715016" y="3562453"/>
                </a:lnTo>
                <a:cubicBezTo>
                  <a:pt x="9678391" y="3348252"/>
                  <a:pt x="9467711" y="3198346"/>
                  <a:pt x="9128320" y="3198346"/>
                </a:cubicBezTo>
                <a:cubicBezTo>
                  <a:pt x="8795208" y="3198346"/>
                  <a:pt x="8544763" y="3339167"/>
                  <a:pt x="8544763" y="3638978"/>
                </a:cubicBezTo>
                <a:cubicBezTo>
                  <a:pt x="8544763" y="3893015"/>
                  <a:pt x="8718819" y="4030691"/>
                  <a:pt x="8914500" y="4079611"/>
                </a:cubicBezTo>
                <a:lnTo>
                  <a:pt x="9220057" y="4156137"/>
                </a:lnTo>
                <a:cubicBezTo>
                  <a:pt x="9381903" y="4195972"/>
                  <a:pt x="9455153" y="4253978"/>
                  <a:pt x="9455153" y="4382569"/>
                </a:cubicBezTo>
                <a:cubicBezTo>
                  <a:pt x="9455153" y="4538764"/>
                  <a:pt x="9345279" y="4627520"/>
                  <a:pt x="9152737" y="4627520"/>
                </a:cubicBezTo>
                <a:cubicBezTo>
                  <a:pt x="8944846" y="4627520"/>
                  <a:pt x="8838111" y="4526535"/>
                  <a:pt x="8804626" y="4272498"/>
                </a:cubicBezTo>
                <a:lnTo>
                  <a:pt x="8480931" y="4364399"/>
                </a:lnTo>
                <a:cubicBezTo>
                  <a:pt x="8498720" y="4627520"/>
                  <a:pt x="8743235" y="4790006"/>
                  <a:pt x="9112972" y="4790006"/>
                </a:cubicBezTo>
                <a:moveTo>
                  <a:pt x="7386719" y="4759256"/>
                </a:moveTo>
                <a:lnTo>
                  <a:pt x="7386719" y="3770714"/>
                </a:lnTo>
                <a:cubicBezTo>
                  <a:pt x="7386719" y="3544283"/>
                  <a:pt x="7502872" y="3412547"/>
                  <a:pt x="7689136" y="3412547"/>
                </a:cubicBezTo>
                <a:cubicBezTo>
                  <a:pt x="7869470" y="3412547"/>
                  <a:pt x="7948649" y="3532053"/>
                  <a:pt x="7948649" y="3712359"/>
                </a:cubicBezTo>
                <a:lnTo>
                  <a:pt x="7948649" y="4759256"/>
                </a:lnTo>
                <a:lnTo>
                  <a:pt x="8309318" y="4759256"/>
                </a:lnTo>
                <a:lnTo>
                  <a:pt x="8309318" y="3709564"/>
                </a:lnTo>
                <a:cubicBezTo>
                  <a:pt x="8309318" y="3394377"/>
                  <a:pt x="8144331" y="3198346"/>
                  <a:pt x="7826566" y="3198346"/>
                </a:cubicBezTo>
                <a:cubicBezTo>
                  <a:pt x="7600539" y="3198346"/>
                  <a:pt x="7475317" y="3296186"/>
                  <a:pt x="7404857" y="3421632"/>
                </a:cubicBezTo>
                <a:lnTo>
                  <a:pt x="7386370" y="3421632"/>
                </a:lnTo>
                <a:lnTo>
                  <a:pt x="7386370" y="3228746"/>
                </a:lnTo>
                <a:lnTo>
                  <a:pt x="7025702" y="3228746"/>
                </a:lnTo>
                <a:lnTo>
                  <a:pt x="7025702" y="4758906"/>
                </a:lnTo>
                <a:lnTo>
                  <a:pt x="7386719" y="4758906"/>
                </a:lnTo>
                <a:close/>
                <a:moveTo>
                  <a:pt x="5813593" y="4759256"/>
                </a:moveTo>
                <a:lnTo>
                  <a:pt x="5813593" y="3770714"/>
                </a:lnTo>
                <a:cubicBezTo>
                  <a:pt x="5813593" y="3544283"/>
                  <a:pt x="5929746" y="3412547"/>
                  <a:pt x="6116010" y="3412547"/>
                </a:cubicBezTo>
                <a:cubicBezTo>
                  <a:pt x="6296343" y="3412547"/>
                  <a:pt x="6375523" y="3532053"/>
                  <a:pt x="6375523" y="3712359"/>
                </a:cubicBezTo>
                <a:lnTo>
                  <a:pt x="6375523" y="4759256"/>
                </a:lnTo>
                <a:lnTo>
                  <a:pt x="6736191" y="4759256"/>
                </a:lnTo>
                <a:lnTo>
                  <a:pt x="6736191" y="3709564"/>
                </a:lnTo>
                <a:cubicBezTo>
                  <a:pt x="6736191" y="3394377"/>
                  <a:pt x="6571205" y="3198346"/>
                  <a:pt x="6253440" y="3198346"/>
                </a:cubicBezTo>
                <a:cubicBezTo>
                  <a:pt x="6027412" y="3198346"/>
                  <a:pt x="5902190" y="3296186"/>
                  <a:pt x="5831730" y="3421632"/>
                </a:cubicBezTo>
                <a:lnTo>
                  <a:pt x="5813243" y="3421632"/>
                </a:lnTo>
                <a:lnTo>
                  <a:pt x="5813243" y="2616892"/>
                </a:lnTo>
                <a:lnTo>
                  <a:pt x="5452576" y="2616892"/>
                </a:lnTo>
                <a:lnTo>
                  <a:pt x="5452576" y="4759256"/>
                </a:lnTo>
                <a:lnTo>
                  <a:pt x="5813593" y="4759256"/>
                </a:lnTo>
                <a:close/>
                <a:moveTo>
                  <a:pt x="4493701" y="4621580"/>
                </a:moveTo>
                <a:cubicBezTo>
                  <a:pt x="4258604" y="4621580"/>
                  <a:pt x="4127103" y="4398293"/>
                  <a:pt x="4127103" y="3994001"/>
                </a:cubicBezTo>
                <a:cubicBezTo>
                  <a:pt x="4127103" y="3583769"/>
                  <a:pt x="4258604" y="3366422"/>
                  <a:pt x="4493701" y="3366422"/>
                </a:cubicBezTo>
                <a:cubicBezTo>
                  <a:pt x="4728798" y="3366422"/>
                  <a:pt x="4860299" y="3586913"/>
                  <a:pt x="4860299" y="3994001"/>
                </a:cubicBezTo>
                <a:cubicBezTo>
                  <a:pt x="4860299" y="4404234"/>
                  <a:pt x="4729147" y="4621580"/>
                  <a:pt x="4493701" y="4621580"/>
                </a:cubicBezTo>
                <a:moveTo>
                  <a:pt x="4493701" y="4790006"/>
                </a:moveTo>
                <a:cubicBezTo>
                  <a:pt x="4973313" y="4790006"/>
                  <a:pt x="5239105" y="4431839"/>
                  <a:pt x="5239105" y="3994350"/>
                </a:cubicBezTo>
                <a:cubicBezTo>
                  <a:pt x="5239105" y="3556513"/>
                  <a:pt x="4973313" y="3198695"/>
                  <a:pt x="4493701" y="3198695"/>
                </a:cubicBezTo>
                <a:cubicBezTo>
                  <a:pt x="4014089" y="3198695"/>
                  <a:pt x="3748297" y="3556862"/>
                  <a:pt x="3748297" y="3994350"/>
                </a:cubicBezTo>
                <a:cubicBezTo>
                  <a:pt x="3748297" y="4431839"/>
                  <a:pt x="4014089" y="4790006"/>
                  <a:pt x="4493701" y="4790006"/>
                </a:cubicBezTo>
                <a:moveTo>
                  <a:pt x="2825698" y="4808176"/>
                </a:moveTo>
                <a:cubicBezTo>
                  <a:pt x="3336005" y="4808176"/>
                  <a:pt x="3534477" y="4502074"/>
                  <a:pt x="3534477" y="4101276"/>
                </a:cubicBezTo>
                <a:lnTo>
                  <a:pt x="3534477" y="2616892"/>
                </a:lnTo>
                <a:lnTo>
                  <a:pt x="3155671" y="2616892"/>
                </a:lnTo>
                <a:lnTo>
                  <a:pt x="3155671" y="4199117"/>
                </a:lnTo>
                <a:cubicBezTo>
                  <a:pt x="3155671" y="4456299"/>
                  <a:pt x="3058005" y="4609350"/>
                  <a:pt x="2825698" y="4609350"/>
                </a:cubicBezTo>
                <a:cubicBezTo>
                  <a:pt x="2596531" y="4609350"/>
                  <a:pt x="2495725" y="4447214"/>
                  <a:pt x="2495725" y="4168717"/>
                </a:cubicBezTo>
                <a:lnTo>
                  <a:pt x="2495725" y="3874845"/>
                </a:lnTo>
                <a:lnTo>
                  <a:pt x="2116919" y="3969890"/>
                </a:lnTo>
                <a:lnTo>
                  <a:pt x="2116919" y="4101626"/>
                </a:lnTo>
                <a:cubicBezTo>
                  <a:pt x="2116919" y="4502074"/>
                  <a:pt x="2315391" y="4808176"/>
                  <a:pt x="2825698" y="4808176"/>
                </a:cubicBezTo>
                <a:moveTo>
                  <a:pt x="809585" y="4584890"/>
                </a:moveTo>
                <a:cubicBezTo>
                  <a:pt x="516237" y="4584890"/>
                  <a:pt x="335903" y="4346228"/>
                  <a:pt x="335903" y="4092191"/>
                </a:cubicBezTo>
                <a:cubicBezTo>
                  <a:pt x="335903" y="3933200"/>
                  <a:pt x="406013" y="3786089"/>
                  <a:pt x="522166" y="3703623"/>
                </a:cubicBezTo>
                <a:lnTo>
                  <a:pt x="1212807" y="4459444"/>
                </a:lnTo>
                <a:cubicBezTo>
                  <a:pt x="1084446" y="4535969"/>
                  <a:pt x="940737" y="4584890"/>
                  <a:pt x="809585" y="4584890"/>
                </a:cubicBezTo>
                <a:moveTo>
                  <a:pt x="1178973" y="3489073"/>
                </a:moveTo>
                <a:cubicBezTo>
                  <a:pt x="1426278" y="3489073"/>
                  <a:pt x="1579056" y="3633038"/>
                  <a:pt x="1579056" y="3880785"/>
                </a:cubicBezTo>
                <a:cubicBezTo>
                  <a:pt x="1579056" y="3990856"/>
                  <a:pt x="1548361" y="4104072"/>
                  <a:pt x="1481390" y="4208202"/>
                </a:cubicBezTo>
                <a:lnTo>
                  <a:pt x="882834" y="3547078"/>
                </a:lnTo>
                <a:cubicBezTo>
                  <a:pt x="989570" y="3504447"/>
                  <a:pt x="1093515" y="3489073"/>
                  <a:pt x="1178973" y="3489073"/>
                </a:cubicBezTo>
                <a:moveTo>
                  <a:pt x="809585" y="2730108"/>
                </a:moveTo>
                <a:cubicBezTo>
                  <a:pt x="989919" y="2730108"/>
                  <a:pt x="1096654" y="2834238"/>
                  <a:pt x="1096654" y="3023979"/>
                </a:cubicBezTo>
                <a:cubicBezTo>
                  <a:pt x="1096654" y="3198346"/>
                  <a:pt x="1011196" y="3363627"/>
                  <a:pt x="800167" y="3458672"/>
                </a:cubicBezTo>
                <a:lnTo>
                  <a:pt x="668666" y="3311911"/>
                </a:lnTo>
                <a:cubicBezTo>
                  <a:pt x="552513" y="3183320"/>
                  <a:pt x="519027" y="3103650"/>
                  <a:pt x="519027" y="3008954"/>
                </a:cubicBezTo>
                <a:cubicBezTo>
                  <a:pt x="519027" y="2831093"/>
                  <a:pt x="632390" y="2730108"/>
                  <a:pt x="809585" y="2730108"/>
                </a:cubicBezTo>
                <a:moveTo>
                  <a:pt x="1576266" y="4312333"/>
                </a:moveTo>
                <a:cubicBezTo>
                  <a:pt x="1741252" y="4116302"/>
                  <a:pt x="1835779" y="3902101"/>
                  <a:pt x="1835779" y="3715504"/>
                </a:cubicBezTo>
                <a:cubicBezTo>
                  <a:pt x="1835779" y="3482783"/>
                  <a:pt x="1679862" y="3326937"/>
                  <a:pt x="1435696" y="3326937"/>
                </a:cubicBezTo>
                <a:cubicBezTo>
                  <a:pt x="1307335" y="3326937"/>
                  <a:pt x="1163625" y="3363627"/>
                  <a:pt x="1069098" y="3400317"/>
                </a:cubicBezTo>
                <a:lnTo>
                  <a:pt x="1062820" y="3388087"/>
                </a:lnTo>
                <a:cubicBezTo>
                  <a:pt x="1295126" y="3262641"/>
                  <a:pt x="1392793" y="3146280"/>
                  <a:pt x="1392793" y="2984144"/>
                </a:cubicBezTo>
                <a:cubicBezTo>
                  <a:pt x="1392793" y="2751423"/>
                  <a:pt x="1184903" y="2567971"/>
                  <a:pt x="818305" y="2567971"/>
                </a:cubicBezTo>
                <a:cubicBezTo>
                  <a:pt x="396595" y="2567971"/>
                  <a:pt x="189054" y="2803488"/>
                  <a:pt x="189054" y="3097360"/>
                </a:cubicBezTo>
                <a:cubicBezTo>
                  <a:pt x="189054" y="3256351"/>
                  <a:pt x="256374" y="3415692"/>
                  <a:pt x="433569" y="3608578"/>
                </a:cubicBezTo>
                <a:lnTo>
                  <a:pt x="436708" y="3614868"/>
                </a:lnTo>
                <a:cubicBezTo>
                  <a:pt x="137431" y="3758833"/>
                  <a:pt x="0" y="3991205"/>
                  <a:pt x="0" y="4230217"/>
                </a:cubicBezTo>
                <a:cubicBezTo>
                  <a:pt x="0" y="4545404"/>
                  <a:pt x="241376" y="4808526"/>
                  <a:pt x="613903" y="4808526"/>
                </a:cubicBezTo>
                <a:cubicBezTo>
                  <a:pt x="827723" y="4808526"/>
                  <a:pt x="1078167" y="4719770"/>
                  <a:pt x="1304544" y="4560779"/>
                </a:cubicBezTo>
                <a:lnTo>
                  <a:pt x="1488017" y="4759605"/>
                </a:lnTo>
                <a:lnTo>
                  <a:pt x="1967629" y="4759605"/>
                </a:lnTo>
                <a:lnTo>
                  <a:pt x="1967629" y="4744230"/>
                </a:lnTo>
                <a:lnTo>
                  <a:pt x="1576266" y="4312333"/>
                </a:lnTo>
                <a:close/>
              </a:path>
            </a:pathLst>
          </a:custGeom>
          <a:solidFill>
            <a:schemeClr val="bg1"/>
          </a:solidFill>
          <a:ln w="3486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02885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anel Images - Long titles [Accessible Version]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79" y="266955"/>
            <a:ext cx="8518155" cy="2946145"/>
          </a:xfr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  <a:br>
              <a:rPr lang="en-GB"/>
            </a:b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2CA5BFA-B5A6-B786-4C05-6FD9C9E49A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C04121E7-08DD-C793-86E0-65E3A5A388B9}"/>
              </a:ext>
            </a:extLst>
          </p:cNvPr>
          <p:cNvSpPr txBox="1">
            <a:spLocks/>
          </p:cNvSpPr>
          <p:nvPr userDrawn="1"/>
        </p:nvSpPr>
        <p:spPr>
          <a:xfrm>
            <a:off x="9150578" y="1"/>
            <a:ext cx="3041422" cy="3428999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4491B2F-D44C-0066-95F1-F250C57C0960}"/>
              </a:ext>
            </a:extLst>
          </p:cNvPr>
          <p:cNvSpPr txBox="1">
            <a:spLocks/>
          </p:cNvSpPr>
          <p:nvPr userDrawn="1"/>
        </p:nvSpPr>
        <p:spPr>
          <a:xfrm>
            <a:off x="5083403" y="3429000"/>
            <a:ext cx="3041422" cy="2479675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7" name="Graphic 2">
            <a:extLst>
              <a:ext uri="{FF2B5EF4-FFF2-40B4-BE49-F238E27FC236}">
                <a16:creationId xmlns:a16="http://schemas.microsoft.com/office/drawing/2014/main" id="{6FE39920-28CC-4C37-EC19-6F2C7A632392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accent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38930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6400"/>
            <a:ext cx="8674100" cy="2770117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6202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Panel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7D4FF8C-1D72-E0CF-4605-CF03816DB150}"/>
              </a:ext>
            </a:extLst>
          </p:cNvPr>
          <p:cNvSpPr/>
          <p:nvPr userDrawn="1"/>
        </p:nvSpPr>
        <p:spPr>
          <a:xfrm>
            <a:off x="9144000" y="2"/>
            <a:ext cx="3048000" cy="22825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951803-8B14-5893-C6D9-F22E6D29647B}"/>
              </a:ext>
            </a:extLst>
          </p:cNvPr>
          <p:cNvSpPr/>
          <p:nvPr userDrawn="1"/>
        </p:nvSpPr>
        <p:spPr>
          <a:xfrm>
            <a:off x="0" y="4578308"/>
            <a:ext cx="8089900" cy="22825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1E30424-3D6B-9C32-D056-E12FEE159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4612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C72F9C5-6F6D-587C-351F-0B5583DF1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Graphic 8">
            <a:extLst>
              <a:ext uri="{FF2B5EF4-FFF2-40B4-BE49-F238E27FC236}">
                <a16:creationId xmlns:a16="http://schemas.microsoft.com/office/drawing/2014/main" id="{E57334F2-2D9C-A261-5F71-74062D3E0043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38085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anel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1DFFC51-5FDD-DBA1-C803-B017E296ADB6}"/>
              </a:ext>
            </a:extLst>
          </p:cNvPr>
          <p:cNvSpPr/>
          <p:nvPr userDrawn="1"/>
        </p:nvSpPr>
        <p:spPr>
          <a:xfrm>
            <a:off x="9144000" y="2"/>
            <a:ext cx="3048000" cy="2282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A0B6D5-9FAE-6088-29AE-ECA683A12070}"/>
              </a:ext>
            </a:extLst>
          </p:cNvPr>
          <p:cNvSpPr/>
          <p:nvPr userDrawn="1"/>
        </p:nvSpPr>
        <p:spPr>
          <a:xfrm>
            <a:off x="0" y="4578308"/>
            <a:ext cx="8089900" cy="2282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4612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996C02B-DDD3-6ECC-5C7A-81C542C2C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738221C5-F9D8-43DB-B798-DF9312647345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11021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rgbClr val="5E4F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6705"/>
            <a:ext cx="8674100" cy="2770117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4D4C34F6-671F-EEC0-FEE1-02A18D85B6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9" y="4389438"/>
            <a:ext cx="5732692" cy="1376362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upporting details.</a:t>
            </a:r>
            <a:r>
              <a:rPr lang="en-GB"/>
              <a:t> Delete if not required. </a:t>
            </a:r>
            <a:r>
              <a:rPr lang="en-US" noProof="0"/>
              <a:t>Right click on background &gt; Select ‘Format background’ &gt; Select color fill to change color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83A6692-6756-028A-9F7E-2811210F07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C2666627-5EC6-6B74-6176-F0B74B3F4F65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65851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with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6BED0E8-5F3C-7ED5-6D85-7ADCF62396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F6F3F2"/>
          </a:solidFill>
        </p:spPr>
        <p:txBody>
          <a:bodyPr anchor="ctr"/>
          <a:lstStyle>
            <a:lvl1pPr algn="ctr">
              <a:defRPr b="0" i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ver the image, ensure the text is legible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70000"/>
            <a:ext cx="867205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9491BFCC-4CF5-814A-036A-AA78247FF3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0D2E5F5E-F3CC-1F16-9EBA-52574081CF6D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107750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66400"/>
            <a:ext cx="573200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474C3C3-E6CF-FCE1-1181-F02BC23A10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65851" y="0"/>
            <a:ext cx="6026150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340F79D8-9CB3-8533-8439-9D23904770BB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80565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70000"/>
            <a:ext cx="573200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C3BD605-06B1-68EF-DD24-2EA9D4780A8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65851" y="0"/>
            <a:ext cx="6026150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</p:spTree>
    <p:extLst>
      <p:ext uri="{BB962C8B-B14F-4D97-AF65-F5344CB8AC3E}">
        <p14:creationId xmlns:p14="http://schemas.microsoft.com/office/powerpoint/2010/main" val="6385439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C22AC-FEA7-AD51-FB22-01EC3D276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7DAC6C-95A8-D53D-7D6B-43128BEEF1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25801" y="277200"/>
            <a:ext cx="8966200" cy="5488600"/>
          </a:xfrm>
        </p:spPr>
        <p:txBody>
          <a:bodyPr/>
          <a:lstStyle>
            <a:lvl1pPr marL="981075" indent="-9810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tabLst/>
              <a:defRPr sz="3000" b="0" i="0">
                <a:latin typeface="+mj-lt"/>
              </a:defRPr>
            </a:lvl1pPr>
            <a:lvl2pPr marL="1201738" indent="-220663">
              <a:tabLst/>
              <a:defRPr/>
            </a:lvl2pPr>
            <a:lvl3pPr marL="1201738" indent="-220663">
              <a:tabLst/>
              <a:defRPr/>
            </a:lvl3pPr>
            <a:lvl4pPr marL="1201738" indent="-220663">
              <a:tabLst/>
              <a:defRPr/>
            </a:lvl4pPr>
            <a:lvl5pPr marL="1201738" indent="-220663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3D73DEF-9C82-2768-837B-EB448FCEC2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0961616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F4DE542-4D98-B05D-597C-9623E7D2E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1" name="Picture Placeholder 92">
            <a:extLst>
              <a:ext uri="{FF2B5EF4-FFF2-40B4-BE49-F238E27FC236}">
                <a16:creationId xmlns:a16="http://schemas.microsoft.com/office/drawing/2014/main" id="{414C0709-0B1A-11C5-45EE-CC44E7A13411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225799" y="93313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63" name="Text Placeholder 5">
            <a:extLst>
              <a:ext uri="{FF2B5EF4-FFF2-40B4-BE49-F238E27FC236}">
                <a16:creationId xmlns:a16="http://schemas.microsoft.com/office/drawing/2014/main" id="{12B824E8-EE25-7DB2-F96D-DEA8631E51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25800" y="231771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4" name="Text Placeholder 5">
            <a:extLst>
              <a:ext uri="{FF2B5EF4-FFF2-40B4-BE49-F238E27FC236}">
                <a16:creationId xmlns:a16="http://schemas.microsoft.com/office/drawing/2014/main" id="{A4F70AC5-374E-DFC2-2B29-2318F0BB51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44000" y="231771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5" name="Text Placeholder 5">
            <a:extLst>
              <a:ext uri="{FF2B5EF4-FFF2-40B4-BE49-F238E27FC236}">
                <a16:creationId xmlns:a16="http://schemas.microsoft.com/office/drawing/2014/main" id="{EB857D0D-CD76-A612-A712-E14D8C7049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6462" y="231771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66" name="Picture Placeholder 91">
            <a:extLst>
              <a:ext uri="{FF2B5EF4-FFF2-40B4-BE49-F238E27FC236}">
                <a16:creationId xmlns:a16="http://schemas.microsoft.com/office/drawing/2014/main" id="{23E05799-FE6A-9155-DA4E-C09C4B03CA27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53899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 </a:t>
            </a:r>
          </a:p>
        </p:txBody>
      </p:sp>
      <p:sp>
        <p:nvSpPr>
          <p:cNvPr id="167" name="Text Placeholder 5">
            <a:extLst>
              <a:ext uri="{FF2B5EF4-FFF2-40B4-BE49-F238E27FC236}">
                <a16:creationId xmlns:a16="http://schemas.microsoft.com/office/drawing/2014/main" id="{24089EB1-E806-6913-C5B8-A4C01D0814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25800" y="625471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8" name="Text Placeholder 5">
            <a:extLst>
              <a:ext uri="{FF2B5EF4-FFF2-40B4-BE49-F238E27FC236}">
                <a16:creationId xmlns:a16="http://schemas.microsoft.com/office/drawing/2014/main" id="{10C7981E-34E4-22AC-19D7-855BF963AC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4000" y="625471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9" name="Text Placeholder 5">
            <a:extLst>
              <a:ext uri="{FF2B5EF4-FFF2-40B4-BE49-F238E27FC236}">
                <a16:creationId xmlns:a16="http://schemas.microsoft.com/office/drawing/2014/main" id="{127EEF89-640D-17FA-3E79-57DA3786E3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06462" y="625471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0" name="Text Placeholder 5">
            <a:extLst>
              <a:ext uri="{FF2B5EF4-FFF2-40B4-BE49-F238E27FC236}">
                <a16:creationId xmlns:a16="http://schemas.microsoft.com/office/drawing/2014/main" id="{C3E76B7F-03AC-D5BD-BECC-8B0881567D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25800" y="1022195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1" name="Text Placeholder 5">
            <a:extLst>
              <a:ext uri="{FF2B5EF4-FFF2-40B4-BE49-F238E27FC236}">
                <a16:creationId xmlns:a16="http://schemas.microsoft.com/office/drawing/2014/main" id="{8344A73D-BCE2-9041-0430-DCA16AE219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44000" y="1022195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Text Placeholder 5">
            <a:extLst>
              <a:ext uri="{FF2B5EF4-FFF2-40B4-BE49-F238E27FC236}">
                <a16:creationId xmlns:a16="http://schemas.microsoft.com/office/drawing/2014/main" id="{BA7AD8A2-995B-0025-7B23-12D44BEB24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462" y="1022195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3" name="Picture Placeholder 93">
            <a:extLst>
              <a:ext uri="{FF2B5EF4-FFF2-40B4-BE49-F238E27FC236}">
                <a16:creationId xmlns:a16="http://schemas.microsoft.com/office/drawing/2014/main" id="{C7221CC4-5A16-F8BC-F970-B26EBD5A8BA8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225799" y="133515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4" name="Text Placeholder 5">
            <a:extLst>
              <a:ext uri="{FF2B5EF4-FFF2-40B4-BE49-F238E27FC236}">
                <a16:creationId xmlns:a16="http://schemas.microsoft.com/office/drawing/2014/main" id="{B4AD80BA-61F2-11A3-5213-31194E78C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25800" y="141891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5" name="Text Placeholder 5">
            <a:extLst>
              <a:ext uri="{FF2B5EF4-FFF2-40B4-BE49-F238E27FC236}">
                <a16:creationId xmlns:a16="http://schemas.microsoft.com/office/drawing/2014/main" id="{27C0D85E-74CB-0D5E-89E5-5D22045B87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44000" y="141891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5">
            <a:extLst>
              <a:ext uri="{FF2B5EF4-FFF2-40B4-BE49-F238E27FC236}">
                <a16:creationId xmlns:a16="http://schemas.microsoft.com/office/drawing/2014/main" id="{D3602011-9A32-BE74-D43E-233E4FC273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06462" y="141891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7" name="Picture Placeholder 94">
            <a:extLst>
              <a:ext uri="{FF2B5EF4-FFF2-40B4-BE49-F238E27FC236}">
                <a16:creationId xmlns:a16="http://schemas.microsoft.com/office/drawing/2014/main" id="{269B4BB8-2420-C116-E384-4500FB15D7E4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225799" y="1737173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8" name="Text Placeholder 5">
            <a:extLst>
              <a:ext uri="{FF2B5EF4-FFF2-40B4-BE49-F238E27FC236}">
                <a16:creationId xmlns:a16="http://schemas.microsoft.com/office/drawing/2014/main" id="{A65D6C32-597E-A87D-B6BE-91881E645F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25800" y="1815643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9" name="Text Placeholder 5">
            <a:extLst>
              <a:ext uri="{FF2B5EF4-FFF2-40B4-BE49-F238E27FC236}">
                <a16:creationId xmlns:a16="http://schemas.microsoft.com/office/drawing/2014/main" id="{4B1DF343-DFC7-F81B-915B-96E9335A5E4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44000" y="1815643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0" name="Text Placeholder 5">
            <a:extLst>
              <a:ext uri="{FF2B5EF4-FFF2-40B4-BE49-F238E27FC236}">
                <a16:creationId xmlns:a16="http://schemas.microsoft.com/office/drawing/2014/main" id="{B101370D-BD23-0E59-00B2-1DF4D768EB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06462" y="1815643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1" name="Picture Placeholder 95">
            <a:extLst>
              <a:ext uri="{FF2B5EF4-FFF2-40B4-BE49-F238E27FC236}">
                <a16:creationId xmlns:a16="http://schemas.microsoft.com/office/drawing/2014/main" id="{F4B3C050-4D54-40AC-903F-F698E83D054E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3225799" y="212342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2" name="Text Placeholder 5">
            <a:extLst>
              <a:ext uri="{FF2B5EF4-FFF2-40B4-BE49-F238E27FC236}">
                <a16:creationId xmlns:a16="http://schemas.microsoft.com/office/drawing/2014/main" id="{155ABD36-F107-FAC7-D94F-C71129D99E0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25800" y="2212367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3" name="Text Placeholder 5">
            <a:extLst>
              <a:ext uri="{FF2B5EF4-FFF2-40B4-BE49-F238E27FC236}">
                <a16:creationId xmlns:a16="http://schemas.microsoft.com/office/drawing/2014/main" id="{0A1512C3-4983-E876-9159-16E3626DF5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44000" y="2212367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4" name="Text Placeholder 5">
            <a:extLst>
              <a:ext uri="{FF2B5EF4-FFF2-40B4-BE49-F238E27FC236}">
                <a16:creationId xmlns:a16="http://schemas.microsoft.com/office/drawing/2014/main" id="{F7879AFD-9EB9-2FB8-189D-455DEDB6131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06462" y="2212367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5" name="Picture Placeholder 96">
            <a:extLst>
              <a:ext uri="{FF2B5EF4-FFF2-40B4-BE49-F238E27FC236}">
                <a16:creationId xmlns:a16="http://schemas.microsoft.com/office/drawing/2014/main" id="{35FA00DC-0DE0-96B1-C7B7-F45DB8335CD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3225799" y="252544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6" name="Text Placeholder 5">
            <a:extLst>
              <a:ext uri="{FF2B5EF4-FFF2-40B4-BE49-F238E27FC236}">
                <a16:creationId xmlns:a16="http://schemas.microsoft.com/office/drawing/2014/main" id="{BE4AFC06-39CD-C8B1-3AE0-5EC6BA91A9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25800" y="2607652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7" name="Text Placeholder 5">
            <a:extLst>
              <a:ext uri="{FF2B5EF4-FFF2-40B4-BE49-F238E27FC236}">
                <a16:creationId xmlns:a16="http://schemas.microsoft.com/office/drawing/2014/main" id="{626B338C-7172-C0D7-9039-86A9DE0F1FA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44000" y="2607652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5">
            <a:extLst>
              <a:ext uri="{FF2B5EF4-FFF2-40B4-BE49-F238E27FC236}">
                <a16:creationId xmlns:a16="http://schemas.microsoft.com/office/drawing/2014/main" id="{F53E4D8E-1408-3646-C31B-01AB5D69F9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06462" y="2607652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9" name="Picture Placeholder 97">
            <a:extLst>
              <a:ext uri="{FF2B5EF4-FFF2-40B4-BE49-F238E27FC236}">
                <a16:creationId xmlns:a16="http://schemas.microsoft.com/office/drawing/2014/main" id="{E48216AF-0F70-8F6D-3261-AB2C4BA6E6DD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3225799" y="2919586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0" name="Text Placeholder 5">
            <a:extLst>
              <a:ext uri="{FF2B5EF4-FFF2-40B4-BE49-F238E27FC236}">
                <a16:creationId xmlns:a16="http://schemas.microsoft.com/office/drawing/2014/main" id="{ACC59BB8-BBFA-7099-D2F9-58BFCAF107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25800" y="3002937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1" name="Text Placeholder 5">
            <a:extLst>
              <a:ext uri="{FF2B5EF4-FFF2-40B4-BE49-F238E27FC236}">
                <a16:creationId xmlns:a16="http://schemas.microsoft.com/office/drawing/2014/main" id="{CACBCBB1-0D34-45F6-E211-B0C865D3FF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644000" y="3002937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5">
            <a:extLst>
              <a:ext uri="{FF2B5EF4-FFF2-40B4-BE49-F238E27FC236}">
                <a16:creationId xmlns:a16="http://schemas.microsoft.com/office/drawing/2014/main" id="{AA85DA3F-ECA7-C004-3370-0301B64046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06462" y="3002937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3" name="Picture Placeholder 98">
            <a:extLst>
              <a:ext uri="{FF2B5EF4-FFF2-40B4-BE49-F238E27FC236}">
                <a16:creationId xmlns:a16="http://schemas.microsoft.com/office/drawing/2014/main" id="{6E85E349-99D2-61C9-CD7D-58A15220FF0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225799" y="331372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4" name="Text Placeholder 5">
            <a:extLst>
              <a:ext uri="{FF2B5EF4-FFF2-40B4-BE49-F238E27FC236}">
                <a16:creationId xmlns:a16="http://schemas.microsoft.com/office/drawing/2014/main" id="{D00E7ED3-4AED-567D-4156-2F6D199ADA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25800" y="3398222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5" name="Text Placeholder 5">
            <a:extLst>
              <a:ext uri="{FF2B5EF4-FFF2-40B4-BE49-F238E27FC236}">
                <a16:creationId xmlns:a16="http://schemas.microsoft.com/office/drawing/2014/main" id="{C8FC743C-8275-AD1C-7797-8C970CCC8D4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644000" y="3398222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5">
            <a:extLst>
              <a:ext uri="{FF2B5EF4-FFF2-40B4-BE49-F238E27FC236}">
                <a16:creationId xmlns:a16="http://schemas.microsoft.com/office/drawing/2014/main" id="{AF7A0554-FA98-7604-80E6-32CB2E2929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06462" y="3398222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7" name="Picture Placeholder 99">
            <a:extLst>
              <a:ext uri="{FF2B5EF4-FFF2-40B4-BE49-F238E27FC236}">
                <a16:creationId xmlns:a16="http://schemas.microsoft.com/office/drawing/2014/main" id="{F876AA1D-D562-3A3B-A233-9C23797C9A2F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3225799" y="371574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8" name="Text Placeholder 5">
            <a:extLst>
              <a:ext uri="{FF2B5EF4-FFF2-40B4-BE49-F238E27FC236}">
                <a16:creationId xmlns:a16="http://schemas.microsoft.com/office/drawing/2014/main" id="{4AAF2467-86C6-2863-72E4-0D257BDEFE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25800" y="3793507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9" name="Text Placeholder 5">
            <a:extLst>
              <a:ext uri="{FF2B5EF4-FFF2-40B4-BE49-F238E27FC236}">
                <a16:creationId xmlns:a16="http://schemas.microsoft.com/office/drawing/2014/main" id="{D10BCF98-803A-D107-CF63-05EE97CCF87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644000" y="3793507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Text Placeholder 5">
            <a:extLst>
              <a:ext uri="{FF2B5EF4-FFF2-40B4-BE49-F238E27FC236}">
                <a16:creationId xmlns:a16="http://schemas.microsoft.com/office/drawing/2014/main" id="{66FCBF15-2260-D8AF-4A2A-454AC1F084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06462" y="3793507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1" name="Picture Placeholder 100">
            <a:extLst>
              <a:ext uri="{FF2B5EF4-FFF2-40B4-BE49-F238E27FC236}">
                <a16:creationId xmlns:a16="http://schemas.microsoft.com/office/drawing/2014/main" id="{9AA08646-E580-C6E2-B08A-A52294AA1302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225799" y="410199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2" name="Text Placeholder 5">
            <a:extLst>
              <a:ext uri="{FF2B5EF4-FFF2-40B4-BE49-F238E27FC236}">
                <a16:creationId xmlns:a16="http://schemas.microsoft.com/office/drawing/2014/main" id="{F1F57BF8-4802-2C8C-0E82-371529BD021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25800" y="4185778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3" name="Text Placeholder 5">
            <a:extLst>
              <a:ext uri="{FF2B5EF4-FFF2-40B4-BE49-F238E27FC236}">
                <a16:creationId xmlns:a16="http://schemas.microsoft.com/office/drawing/2014/main" id="{04A64809-4725-EAB5-6238-C72786840E5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644000" y="4185778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5">
            <a:extLst>
              <a:ext uri="{FF2B5EF4-FFF2-40B4-BE49-F238E27FC236}">
                <a16:creationId xmlns:a16="http://schemas.microsoft.com/office/drawing/2014/main" id="{4CB9BFE3-9BB1-5FD8-09B8-E24BA20F557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06462" y="4185778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5" name="Picture Placeholder 101">
            <a:extLst>
              <a:ext uri="{FF2B5EF4-FFF2-40B4-BE49-F238E27FC236}">
                <a16:creationId xmlns:a16="http://schemas.microsoft.com/office/drawing/2014/main" id="{44DB8248-2938-15C7-274A-CA5D91633846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3225799" y="44961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6" name="Text Placeholder 5">
            <a:extLst>
              <a:ext uri="{FF2B5EF4-FFF2-40B4-BE49-F238E27FC236}">
                <a16:creationId xmlns:a16="http://schemas.microsoft.com/office/drawing/2014/main" id="{611AE180-E3A1-4890-5ADE-0648958344D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225800" y="457804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7" name="Text Placeholder 5">
            <a:extLst>
              <a:ext uri="{FF2B5EF4-FFF2-40B4-BE49-F238E27FC236}">
                <a16:creationId xmlns:a16="http://schemas.microsoft.com/office/drawing/2014/main" id="{E90EADE4-597A-8C59-D59C-21DE4011EC8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644000" y="457804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8" name="Text Placeholder 5">
            <a:extLst>
              <a:ext uri="{FF2B5EF4-FFF2-40B4-BE49-F238E27FC236}">
                <a16:creationId xmlns:a16="http://schemas.microsoft.com/office/drawing/2014/main" id="{8988DD51-F3BF-BE97-FF13-DAAFB4A50B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06462" y="457804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9" name="Picture Placeholder 102">
            <a:extLst>
              <a:ext uri="{FF2B5EF4-FFF2-40B4-BE49-F238E27FC236}">
                <a16:creationId xmlns:a16="http://schemas.microsoft.com/office/drawing/2014/main" id="{5DAB147A-0351-E869-E2C9-849967B3E0C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3225799" y="489027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0" name="Text Placeholder 5">
            <a:extLst>
              <a:ext uri="{FF2B5EF4-FFF2-40B4-BE49-F238E27FC236}">
                <a16:creationId xmlns:a16="http://schemas.microsoft.com/office/drawing/2014/main" id="{3A1DC516-9D33-7E76-1881-D60014DC876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25800" y="496901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1" name="Text Placeholder 5">
            <a:extLst>
              <a:ext uri="{FF2B5EF4-FFF2-40B4-BE49-F238E27FC236}">
                <a16:creationId xmlns:a16="http://schemas.microsoft.com/office/drawing/2014/main" id="{50E9B1C4-B2F3-4C78-8518-39911DF5B99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644000" y="496901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2" name="Text Placeholder 5">
            <a:extLst>
              <a:ext uri="{FF2B5EF4-FFF2-40B4-BE49-F238E27FC236}">
                <a16:creationId xmlns:a16="http://schemas.microsoft.com/office/drawing/2014/main" id="{BE4B6B57-1237-7AB3-7574-6A37E89A9F5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06462" y="496901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13" name="Picture Placeholder 103">
            <a:extLst>
              <a:ext uri="{FF2B5EF4-FFF2-40B4-BE49-F238E27FC236}">
                <a16:creationId xmlns:a16="http://schemas.microsoft.com/office/drawing/2014/main" id="{469187E8-1DE2-B301-6DE0-4B9CEA368C43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527652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4" name="Text Placeholder 5">
            <a:extLst>
              <a:ext uri="{FF2B5EF4-FFF2-40B4-BE49-F238E27FC236}">
                <a16:creationId xmlns:a16="http://schemas.microsoft.com/office/drawing/2014/main" id="{C07B97CB-6CF8-744C-72E9-403869FF62F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25800" y="535998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5" name="Text Placeholder 5">
            <a:extLst>
              <a:ext uri="{FF2B5EF4-FFF2-40B4-BE49-F238E27FC236}">
                <a16:creationId xmlns:a16="http://schemas.microsoft.com/office/drawing/2014/main" id="{D7694E3D-9EAE-7860-514C-D3E6A6066D7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644000" y="535998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5">
            <a:extLst>
              <a:ext uri="{FF2B5EF4-FFF2-40B4-BE49-F238E27FC236}">
                <a16:creationId xmlns:a16="http://schemas.microsoft.com/office/drawing/2014/main" id="{673631ED-FCF1-AA91-EA4E-8BD53A7ED35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06462" y="535998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BF28211-1086-A258-4B97-2558FD5CBF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530509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3026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8321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337" y="269882"/>
            <a:ext cx="11615278" cy="5495918"/>
          </a:xfrm>
        </p:spPr>
        <p:txBody>
          <a:bodyPr/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807596-CD4E-AD17-0A30-2099816453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4157714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Numb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91">
            <a:extLst>
              <a:ext uri="{FF2B5EF4-FFF2-40B4-BE49-F238E27FC236}">
                <a16:creationId xmlns:a16="http://schemas.microsoft.com/office/drawing/2014/main" id="{1B8E6F68-BB92-3741-A271-A507454209A8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3F40DC3-5F4F-C397-5C6A-8A62BC1F78B1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91">
            <a:extLst>
              <a:ext uri="{FF2B5EF4-FFF2-40B4-BE49-F238E27FC236}">
                <a16:creationId xmlns:a16="http://schemas.microsoft.com/office/drawing/2014/main" id="{A11547F3-AA53-B6CF-CC36-9B7EBC562F8C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BE84450-4088-E9E0-0359-34BD23A3925E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91">
            <a:extLst>
              <a:ext uri="{FF2B5EF4-FFF2-40B4-BE49-F238E27FC236}">
                <a16:creationId xmlns:a16="http://schemas.microsoft.com/office/drawing/2014/main" id="{62C4BF17-AF9C-A4E5-F1BF-718B90E42E2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33A7DDF-B16D-DE86-59A6-3E4EE10AF950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Picture Placeholder 91">
            <a:extLst>
              <a:ext uri="{FF2B5EF4-FFF2-40B4-BE49-F238E27FC236}">
                <a16:creationId xmlns:a16="http://schemas.microsoft.com/office/drawing/2014/main" id="{485FA38D-16CA-1001-19BE-594DCF6B57AA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5E5282-C048-99E1-5F1B-6B996106618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CBBE869E-D65F-3F80-8F9D-6DF327B97D4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BAA28741-F83E-3E15-A9FB-99668766D89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43DFA16-4809-A367-8DA1-8599EDC67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279466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B1A9DEC-1972-000C-297E-FD62059EE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584D2C57-3904-61FA-F2B5-C74EFBC4BE0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68120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s [Accessible Version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7032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Johnson Text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Picture Placeholder 91">
            <a:extLst>
              <a:ext uri="{FF2B5EF4-FFF2-40B4-BE49-F238E27FC236}">
                <a16:creationId xmlns:a16="http://schemas.microsoft.com/office/drawing/2014/main" id="{26B4C449-2487-DF2A-7645-8218B023E59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D7090765-328D-D615-6AFB-B0F52307537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Picture Placeholder 91">
            <a:extLst>
              <a:ext uri="{FF2B5EF4-FFF2-40B4-BE49-F238E27FC236}">
                <a16:creationId xmlns:a16="http://schemas.microsoft.com/office/drawing/2014/main" id="{04E11CE5-CC63-4DF3-91BC-7D123FA2380B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9F6050B-0591-0406-0A2B-C58DB12244B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Picture Placeholder 91">
            <a:extLst>
              <a:ext uri="{FF2B5EF4-FFF2-40B4-BE49-F238E27FC236}">
                <a16:creationId xmlns:a16="http://schemas.microsoft.com/office/drawing/2014/main" id="{95D4FFE4-0D64-5F30-AD0F-100BD6D65389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4F52E6D-F9EF-905D-6975-963F7D958ED5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Picture Placeholder 91">
            <a:extLst>
              <a:ext uri="{FF2B5EF4-FFF2-40B4-BE49-F238E27FC236}">
                <a16:creationId xmlns:a16="http://schemas.microsoft.com/office/drawing/2014/main" id="{02D2CE40-9732-D3AB-4F10-762299122CE1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C4A7D748-90AF-308A-44E9-BE56492932E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6" name="Text Placeholder 26">
            <a:extLst>
              <a:ext uri="{FF2B5EF4-FFF2-40B4-BE49-F238E27FC236}">
                <a16:creationId xmlns:a16="http://schemas.microsoft.com/office/drawing/2014/main" id="{ED360C76-27A8-44D1-6730-F7FA8D1EC543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8863499-99BA-9382-A790-8823B96ABCD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FE0DB2D-5681-9C6E-43DA-7FD40833A1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279466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5413844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88F223-1D7A-707E-10AB-5C41663BE54B}"/>
              </a:ext>
            </a:extLst>
          </p:cNvPr>
          <p:cNvSpPr/>
          <p:nvPr userDrawn="1"/>
        </p:nvSpPr>
        <p:spPr>
          <a:xfrm>
            <a:off x="6583680" y="0"/>
            <a:ext cx="560832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3085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4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5733084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D949BE1-5181-CCD9-89D9-3FDED96843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45337" y="2338388"/>
            <a:ext cx="4757737" cy="3427412"/>
          </a:xfrm>
        </p:spPr>
        <p:txBody>
          <a:bodyPr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  <a:latin typeface="+mj-lt"/>
              </a:defRPr>
            </a:lvl1pPr>
            <a:lvl2pPr>
              <a:defRPr lang="en-GB" dirty="0" smtClean="0">
                <a:solidFill>
                  <a:schemeClr val="bg1"/>
                </a:solidFill>
              </a:defRPr>
            </a:lvl2pPr>
            <a:lvl3pPr>
              <a:defRPr lang="en-GB" dirty="0" smtClean="0">
                <a:solidFill>
                  <a:schemeClr val="bg1"/>
                </a:solidFill>
              </a:defRPr>
            </a:lvl3pPr>
            <a:lvl4pPr>
              <a:defRPr lang="en-GB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“Quote goes here. Delete speech marks if not required.”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616647F-6551-5C71-EECF-7BC298E933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 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EC8F6E-46BB-F39D-C0DC-751CB8913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3129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8515350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[Accessible Versio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8"/>
            <a:ext cx="5733085" cy="3427412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4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5733084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D949BE1-5181-CCD9-89D9-3FDED96843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45337" y="2338388"/>
            <a:ext cx="4757737" cy="3427412"/>
          </a:xfrm>
        </p:spPr>
        <p:txBody>
          <a:bodyPr/>
          <a:lstStyle>
            <a:lvl1pPr>
              <a:lnSpc>
                <a:spcPct val="80000"/>
              </a:lnSpc>
              <a:defRPr sz="5400" i="0">
                <a:solidFill>
                  <a:schemeClr val="accent1"/>
                </a:solidFill>
                <a:latin typeface="+mj-lt"/>
              </a:defRPr>
            </a:lvl1pPr>
            <a:lvl2pPr>
              <a:defRPr lang="en-GB" dirty="0" smtClean="0">
                <a:solidFill>
                  <a:schemeClr val="tx1"/>
                </a:solidFill>
              </a:defRPr>
            </a:lvl2pPr>
            <a:lvl3pPr>
              <a:defRPr lang="en-GB" dirty="0" smtClean="0">
                <a:solidFill>
                  <a:schemeClr val="tx1"/>
                </a:solidFill>
              </a:defRPr>
            </a:lvl3pPr>
            <a:lvl4pPr>
              <a:defRPr lang="en-GB" dirty="0" smtClean="0">
                <a:solidFill>
                  <a:schemeClr val="tx1"/>
                </a:solidFill>
              </a:defRPr>
            </a:lvl4pPr>
            <a:lvl5pPr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“Quote goes here. Delete speech marks if not required.”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62EBE26-5504-780B-C8F1-AFCE930394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F5227C2-8D93-ABD3-A0D2-E4BD40BC77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3084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54902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6F6140-34D9-F6B3-6BCD-3A50DD37FE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3084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7EE611-EA9F-2CB5-2ACF-EF4D756FF28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6800" y="270000"/>
            <a:ext cx="5737225" cy="5495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781BB63-AF6A-9F70-47D8-BF333C1618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3867150"/>
            <a:ext cx="3778250" cy="1816002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093E36D-AA36-08D5-DD80-6469123BE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9011399-EA78-1501-D5C3-39F7E534C3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342566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5B587F7-0E47-48EC-A5BC-5623F62D61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234E43D-E2A8-6090-A515-BA67D1DC03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348819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4D7FB2-B0CA-4C96-0E9E-CB4BA9057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5732003" cy="39433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1" y="1822450"/>
            <a:ext cx="5734049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0BC13B-177D-A0D3-7A97-8F3C3A8E73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6361D27-85D4-45EB-31D3-6D805D2E106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BA91C6-E980-9240-DC55-BBA4867CB9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711504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C8828CA-7D5C-3E61-D35B-06A376A83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51"/>
            <a:ext cx="3773029" cy="39433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08923" y="1822451"/>
            <a:ext cx="3773028" cy="39433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07DFA4-9148-416B-352F-29E5676A6A0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29587" y="1822451"/>
            <a:ext cx="3773028" cy="39433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200" y="295200"/>
            <a:ext cx="3773488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D960C6BF-F9C7-01C8-7601-5B209FAE017D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7699C8C-E675-503A-24B2-BFCC24CE49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0500934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FD914B4A-06B9-EB7A-743E-14A65604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2903A13-6903-3CAB-953B-86997724B4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2099" y="1306514"/>
            <a:ext cx="3770314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1B5E5492-00A8-B509-4464-956D8959E92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06876" y="1306514"/>
            <a:ext cx="3775076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230A832-8B14-0097-7902-DB48A4A889E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4" y="1306514"/>
            <a:ext cx="3775075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C00D127-E34B-E7AD-7F27-D3CB551350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957F58C-3461-45A3-5C7B-FEC0AE9787AA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0E54879-16D3-D32C-7096-C2022A52D2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925" y="3357563"/>
            <a:ext cx="37692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11B2AEB-EC1B-D6B6-2A0C-C42A73F419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06876" y="3357563"/>
            <a:ext cx="37764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04DF7D6-F323-CF70-9E5E-634416CD4F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24824" y="3357563"/>
            <a:ext cx="37764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A50A90C1-8224-5C16-1EC9-D3E24C8CF2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833451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solidFill>
          <a:srgbClr val="5E4F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705"/>
            <a:ext cx="7693026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1BEEFE38-569A-A8EF-1D54-81764BE3F5B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170363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7510D54-8AF6-FB56-756F-08A956F57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2793541" cy="39433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3" y="1822450"/>
            <a:ext cx="2795586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1" y="1822450"/>
            <a:ext cx="2793542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4313" y="1822450"/>
            <a:ext cx="2795587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E3C7D5F1-8B5D-5312-7A0B-9754F64800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22B44CB-D9B7-ACB7-EC09-74A55C85B1A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FD518FF-79D2-C6D5-01D5-64DFE23120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183554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5EFD4EAF-3D60-DC5D-9020-CF7FB8FB5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E9C5E07-6992-3F19-1B3D-971FA4CAA6E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2100" y="1306514"/>
            <a:ext cx="2790825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DFC9CD2-F9F0-5542-03DE-0F1FE57839D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25800" y="1306515"/>
            <a:ext cx="2795588" cy="1906586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E872F4-C139-6D56-50F9-7D21C3B1C8C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5850" y="1306513"/>
            <a:ext cx="2795588" cy="190817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712E5D-D603-F9AE-3C3A-D37795F752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04313" y="1306513"/>
            <a:ext cx="2799890" cy="190658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9D9921F-F7C4-B7B7-7BFB-FFFA54F89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6811233-C261-B7A8-9BF5-E6DBD474B2D8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B473CBC-7605-D3E8-783C-F925B286C46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925" y="3357563"/>
            <a:ext cx="2790825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5F5363E-BC98-62D0-50C8-BB47491FC9D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33115" y="3357563"/>
            <a:ext cx="2796156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2CFDC76E-CB6A-2A48-41EF-35223633C7F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5321" y="3357563"/>
            <a:ext cx="2796156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12E56C66-93E1-5486-DC8D-DDF4C1E184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04313" y="3357563"/>
            <a:ext cx="28008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9DCAB8AB-4C0B-7253-B5CE-B910AD2A2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703376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1599"/>
            <a:ext cx="2793541" cy="1902675"/>
          </a:xfrm>
        </p:spPr>
        <p:txBody>
          <a:bodyPr/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200" dirty="0" smtClean="0"/>
            </a:lvl3pPr>
            <a:lvl4pPr>
              <a:defRPr lang="en-GB" sz="1200" dirty="0" smtClean="0"/>
            </a:lvl4pPr>
            <a:lvl5pPr>
              <a:defRPr lang="en-GB" sz="8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2" y="1821599"/>
            <a:ext cx="2793542" cy="1902675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0" y="1821599"/>
            <a:ext cx="2803525" cy="1902675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5903" y="1821599"/>
            <a:ext cx="2793997" cy="1902675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837F62A-0DBC-5C4E-10B1-0A4CD4ADF81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9384" y="3871912"/>
            <a:ext cx="2793541" cy="1902673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19C36C2-D521-FEE7-A6AC-5710B0CDB35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165851" y="3871912"/>
            <a:ext cx="2795588" cy="1902674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B6994DE-2295-D9C1-5B16-D2099A81641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225801" y="3871912"/>
            <a:ext cx="2795588" cy="1902673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5D14BC0-5573-6189-1430-BDA9443B265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04313" y="3871912"/>
            <a:ext cx="2795587" cy="1902674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8166EB3-B625-A7A5-5E35-6D81B2C4EA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EC560DE3-3204-EFCC-1AF1-2D91CA826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09115CA6-F35D-BB63-6BE4-D7293F65797E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13B6904-8EEB-8C52-41B0-27C88B5551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744522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306513"/>
            <a:ext cx="5732003" cy="44592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38B81BC-7790-A8A7-F32D-C3F126E7C5D3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65850" y="1306513"/>
            <a:ext cx="5737225" cy="4964112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8257768-4CDB-6207-FCBD-946306C93D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83801" y="330199"/>
            <a:ext cx="1816100" cy="841376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800" b="0" i="0">
                <a:latin typeface="+mn-lt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E77B21E-A040-7CC6-4F9B-B89C94289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25C5CD-1985-D608-1D27-9FBC395FE641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4E01DA7-F0B0-D0D7-0F82-2CEA27458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3129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1023226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698C230B-5408-E1A5-CFA9-2F383131120D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292100" y="1306512"/>
            <a:ext cx="3770313" cy="3440113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BA18FE4-4638-2816-D5EB-4ABC061297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1480" y="4894903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hart Placeholder 10">
            <a:extLst>
              <a:ext uri="{FF2B5EF4-FFF2-40B4-BE49-F238E27FC236}">
                <a16:creationId xmlns:a16="http://schemas.microsoft.com/office/drawing/2014/main" id="{446A3E25-507C-4190-4950-DA0C712EB336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206875" y="1306513"/>
            <a:ext cx="3775076" cy="3440112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DD2F21A-FE62-6E81-6F5B-9A76691ED2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06874" y="4894903"/>
            <a:ext cx="3775076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hart Placeholder 10">
            <a:extLst>
              <a:ext uri="{FF2B5EF4-FFF2-40B4-BE49-F238E27FC236}">
                <a16:creationId xmlns:a16="http://schemas.microsoft.com/office/drawing/2014/main" id="{94EF43E1-5534-96EF-52FD-3CD0B7B21E71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8124825" y="1306512"/>
            <a:ext cx="3770313" cy="3440113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74660EF-5B4C-59FD-5DE9-C6AEEC3EA7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4205" y="4894903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FD82D33-FC73-4137-A0A9-8EB43DA1A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959997-A6D7-96D1-8672-5FCDE45DB7B3}"/>
              </a:ext>
            </a:extLst>
          </p:cNvPr>
          <p:cNvSpPr>
            <a:spLocks noGrp="1"/>
          </p:cNvSpPr>
          <p:nvPr>
            <p:ph type="subTitle" idx="22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BE4CD19-6DA9-A930-91EE-59CB48D45E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6994110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5">
            <a:extLst>
              <a:ext uri="{FF2B5EF4-FFF2-40B4-BE49-F238E27FC236}">
                <a16:creationId xmlns:a16="http://schemas.microsoft.com/office/drawing/2014/main" id="{AA00D851-11FE-02AE-0FE0-9A7CAC67EF7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92100" y="2847975"/>
            <a:ext cx="11610975" cy="2917825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DD0AA4-DA06-999E-8621-24713C5D3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F1CADF7-2181-199A-E8E5-8BFDAFCB65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BE7CDC5-71B1-1F0B-9FBF-16B0C364877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0F27FF6-CF7D-B29E-40F2-BF449AACF4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FCDADD7-2ADE-F7A6-3ACF-DBB0741F7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982849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7F42810-DCAF-7A30-3A4F-E23EA682FA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3525"/>
            <a:ext cx="377825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373482F-4FA8-181D-CA6D-04D8D98AD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4BCB963-058E-5C5B-947F-AC1D9DD6C9F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B4313EC1-0D30-C944-21E6-B89F8290D2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42317466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F06E5F-8043-3DC0-2D79-119BF9908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76A8E91-3BCB-12F2-1699-CC1C37680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585632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r subtitle over the image, ensure the text is legibl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079C00-CC52-F9ED-ED36-A8FC057350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10632110" cy="46859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. Black or white text only.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95A4114-449A-5D28-03F8-03221E42A65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10632109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47567480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25800" y="0"/>
            <a:ext cx="8966200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2793541" cy="3932237"/>
          </a:xfrm>
        </p:spPr>
        <p:txBody>
          <a:bodyPr/>
          <a:lstStyle/>
          <a:p>
            <a:pPr lvl="0"/>
            <a:r>
              <a:rPr lang="en-GB"/>
              <a:t>Click to add text – delete if not requir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37889-B558-B868-1094-BA62A7B3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2793541" cy="19348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09204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84" y="266400"/>
            <a:ext cx="5732004" cy="2770117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D45A48FB-9AA7-F5E5-80E7-97EC299F000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7FF01E-CE3E-39E2-D61B-0FA837B6BDA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62381" y="0"/>
            <a:ext cx="5629619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</p:spTree>
    <p:extLst>
      <p:ext uri="{BB962C8B-B14F-4D97-AF65-F5344CB8AC3E}">
        <p14:creationId xmlns:p14="http://schemas.microsoft.com/office/powerpoint/2010/main" val="15839768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2BB7518-D6BA-C538-D249-365B42C98C3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0AE2DF2-849C-72E8-013B-74CCFF6C4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2002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602673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Content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21758" y="4376738"/>
            <a:ext cx="5580856" cy="1893886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7139A87-57BC-3EA5-1A50-C7A9DA1DB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98" y="279525"/>
            <a:ext cx="5578817" cy="2733056"/>
          </a:xfrm>
        </p:spPr>
        <p:txBody>
          <a:bodyPr/>
          <a:lstStyle>
            <a:lvl1pPr>
              <a:lnSpc>
                <a:spcPct val="80000"/>
              </a:lnSpc>
              <a:defRPr sz="7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92801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6AE2399-BFCA-491C-607D-8EC33F29B0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2AEA74B-CBA6-2617-8389-0A8FBEB074F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7210571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3010694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41FD64A-0587-F581-84E0-EA06B4D335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81307" y="0"/>
            <a:ext cx="3010694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27A145F5-DB46-62B4-C485-DD186AF7B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588C0CC-43FB-4401-B34D-842E1E15D0E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420512035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Content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5850" y="2338388"/>
            <a:ext cx="5734051" cy="393223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83801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6327D50-E20F-7EBC-9440-36E657CCB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8672513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482B98-7AE9-6F29-768C-189744E8C74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867251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BCA9CB80-774D-68B5-7E25-86D9D123D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2003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1957206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04313" y="2338386"/>
            <a:ext cx="2795588" cy="393223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04313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07C8FFB5-0C36-EA56-18AE-AE4E3A5B96B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65850" y="2338386"/>
            <a:ext cx="2800351" cy="393223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65850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48C95821-C865-9139-DE3E-F11442D83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867313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49BA43B-6BD5-72DE-5D4D-B0BAD4FEEA2B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867149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00874E2-51B6-C9BA-5767-10D0B2852D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9479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7951840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4825" y="291038"/>
            <a:ext cx="3775076" cy="292206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5" y="2338387"/>
            <a:ext cx="4750422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65850" y="263526"/>
            <a:ext cx="1816099" cy="9017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7E2F9960-1383-47B5-D5A0-E3568E63310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5" y="3357564"/>
            <a:ext cx="3775076" cy="291306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157324B-BE85-4E3F-8A71-8D472DC1443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70614" y="3334276"/>
            <a:ext cx="1811335" cy="9048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4750421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4750421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F0325E1-B647-A8E5-18BB-BF2ED4C7A4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7693690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5377318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ef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50100" y="0"/>
            <a:ext cx="5041900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3357563"/>
            <a:ext cx="6022552" cy="349995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50102" y="4376738"/>
            <a:ext cx="4754562" cy="1893887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76830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Righ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4376738"/>
            <a:ext cx="4754562" cy="1893887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585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13490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7563"/>
            <a:ext cx="4152900" cy="350043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52900" y="1"/>
            <a:ext cx="3912062" cy="685751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313" y="4376738"/>
            <a:ext cx="2795587" cy="1893887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74C72C0-D5F1-8526-2BDA-0E6460C330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961" y="0"/>
            <a:ext cx="4114339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8318B1-25E6-EF2C-0244-43CD92F8B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696913"/>
            <a:ext cx="3770934" cy="1765868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9792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89.xml"/><Relationship Id="rId42" Type="http://schemas.openxmlformats.org/officeDocument/2006/relationships/slideLayout" Target="../slideLayouts/slideLayout97.xml"/><Relationship Id="rId47" Type="http://schemas.openxmlformats.org/officeDocument/2006/relationships/slideLayout" Target="../slideLayouts/slideLayout102.xml"/><Relationship Id="rId50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slideLayout" Target="../slideLayouts/slideLayout87.xml"/><Relationship Id="rId37" Type="http://schemas.openxmlformats.org/officeDocument/2006/relationships/slideLayout" Target="../slideLayouts/slideLayout92.xml"/><Relationship Id="rId40" Type="http://schemas.openxmlformats.org/officeDocument/2006/relationships/slideLayout" Target="../slideLayouts/slideLayout95.xml"/><Relationship Id="rId45" Type="http://schemas.openxmlformats.org/officeDocument/2006/relationships/slideLayout" Target="../slideLayouts/slideLayout100.xml"/><Relationship Id="rId53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86.xml"/><Relationship Id="rId44" Type="http://schemas.openxmlformats.org/officeDocument/2006/relationships/slideLayout" Target="../slideLayouts/slideLayout99.xml"/><Relationship Id="rId52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Relationship Id="rId35" Type="http://schemas.openxmlformats.org/officeDocument/2006/relationships/slideLayout" Target="../slideLayouts/slideLayout90.xml"/><Relationship Id="rId43" Type="http://schemas.openxmlformats.org/officeDocument/2006/relationships/slideLayout" Target="../slideLayouts/slideLayout98.xml"/><Relationship Id="rId48" Type="http://schemas.openxmlformats.org/officeDocument/2006/relationships/slideLayout" Target="../slideLayouts/slideLayout103.xml"/><Relationship Id="rId8" Type="http://schemas.openxmlformats.org/officeDocument/2006/relationships/slideLayout" Target="../slideLayouts/slideLayout63.xml"/><Relationship Id="rId51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slideLayout" Target="../slideLayouts/slideLayout88.xml"/><Relationship Id="rId38" Type="http://schemas.openxmlformats.org/officeDocument/2006/relationships/slideLayout" Target="../slideLayouts/slideLayout93.xml"/><Relationship Id="rId4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75.xml"/><Relationship Id="rId41" Type="http://schemas.openxmlformats.org/officeDocument/2006/relationships/slideLayout" Target="../slideLayouts/slideLayout96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36" Type="http://schemas.openxmlformats.org/officeDocument/2006/relationships/slideLayout" Target="../slideLayouts/slideLayout91.xml"/><Relationship Id="rId49" Type="http://schemas.openxmlformats.org/officeDocument/2006/relationships/slideLayout" Target="../slideLayouts/slideLayout1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5781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0"/>
            <a:ext cx="11610516" cy="4448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66824" y="6415710"/>
            <a:ext cx="4754563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89912C14-54EA-5DA7-6F07-C2AB6D29AF6F}"/>
              </a:ext>
            </a:extLst>
          </p:cNvPr>
          <p:cNvSpPr>
            <a:spLocks noChangeAspect="1"/>
          </p:cNvSpPr>
          <p:nvPr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tx2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449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tabLst/>
        <a:defRPr sz="7400" b="0" i="0" kern="1200">
          <a:solidFill>
            <a:schemeClr val="tx2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26B43"/>
          </p15:clr>
        </p15:guide>
        <p15:guide id="2" pos="181">
          <p15:clr>
            <a:srgbClr val="F26B43"/>
          </p15:clr>
        </p15:guide>
        <p15:guide id="3" pos="708">
          <p15:clr>
            <a:srgbClr val="F26B43"/>
          </p15:clr>
        </p15:guide>
        <p15:guide id="4" pos="798">
          <p15:clr>
            <a:srgbClr val="F26B43"/>
          </p15:clr>
        </p15:guide>
        <p15:guide id="5" pos="1325">
          <p15:clr>
            <a:srgbClr val="F26B43"/>
          </p15:clr>
        </p15:guide>
        <p15:guide id="6" pos="1415">
          <p15:clr>
            <a:srgbClr val="F26B43"/>
          </p15:clr>
        </p15:guide>
        <p15:guide id="7" pos="1942">
          <p15:clr>
            <a:srgbClr val="F26B43"/>
          </p15:clr>
        </p15:guide>
        <p15:guide id="8" pos="2032">
          <p15:clr>
            <a:srgbClr val="F26B43"/>
          </p15:clr>
        </p15:guide>
        <p15:guide id="9" pos="2559">
          <p15:clr>
            <a:srgbClr val="F26B43"/>
          </p15:clr>
        </p15:guide>
        <p15:guide id="10" pos="2650">
          <p15:clr>
            <a:srgbClr val="F26B43"/>
          </p15:clr>
        </p15:guide>
        <p15:guide id="11" pos="3176">
          <p15:clr>
            <a:srgbClr val="F26B43"/>
          </p15:clr>
        </p15:guide>
        <p15:guide id="12" pos="3267">
          <p15:clr>
            <a:srgbClr val="F26B43"/>
          </p15:clr>
        </p15:guide>
        <p15:guide id="13" pos="3793">
          <p15:clr>
            <a:srgbClr val="F26B43"/>
          </p15:clr>
        </p15:guide>
        <p15:guide id="14" pos="3884">
          <p15:clr>
            <a:srgbClr val="F26B43"/>
          </p15:clr>
        </p15:guide>
        <p15:guide id="15" pos="4411">
          <p15:clr>
            <a:srgbClr val="F26B43"/>
          </p15:clr>
        </p15:guide>
        <p15:guide id="16" pos="4501">
          <p15:clr>
            <a:srgbClr val="F26B43"/>
          </p15:clr>
        </p15:guide>
        <p15:guide id="17" pos="5028">
          <p15:clr>
            <a:srgbClr val="F26B43"/>
          </p15:clr>
        </p15:guide>
        <p15:guide id="18" pos="5118">
          <p15:clr>
            <a:srgbClr val="F26B43"/>
          </p15:clr>
        </p15:guide>
        <p15:guide id="19" pos="5645">
          <p15:clr>
            <a:srgbClr val="F26B43"/>
          </p15:clr>
        </p15:guide>
        <p15:guide id="20" pos="5735">
          <p15:clr>
            <a:srgbClr val="F26B43"/>
          </p15:clr>
        </p15:guide>
        <p15:guide id="21" pos="6262">
          <p15:clr>
            <a:srgbClr val="F26B43"/>
          </p15:clr>
        </p15:guide>
        <p15:guide id="22" pos="6352">
          <p15:clr>
            <a:srgbClr val="F26B43"/>
          </p15:clr>
        </p15:guide>
        <p15:guide id="23" pos="6879">
          <p15:clr>
            <a:srgbClr val="F26B43"/>
          </p15:clr>
        </p15:guide>
        <p15:guide id="24" pos="6970">
          <p15:clr>
            <a:srgbClr val="F26B43"/>
          </p15:clr>
        </p15:guide>
        <p15:guide id="25" pos="7496">
          <p15:clr>
            <a:srgbClr val="F26B43"/>
          </p15:clr>
        </p15:guide>
        <p15:guide id="28" orient="horz" pos="1382">
          <p15:clr>
            <a:srgbClr val="F26B43"/>
          </p15:clr>
        </p15:guide>
        <p15:guide id="29" orient="horz" pos="1473">
          <p15:clr>
            <a:srgbClr val="F26B43"/>
          </p15:clr>
        </p15:guide>
        <p15:guide id="30" orient="horz" pos="2024">
          <p15:clr>
            <a:srgbClr val="F26B43"/>
          </p15:clr>
        </p15:guide>
        <p15:guide id="31" orient="horz" pos="2115">
          <p15:clr>
            <a:srgbClr val="F26B43"/>
          </p15:clr>
        </p15:guide>
        <p15:guide id="32" orient="horz" pos="2666">
          <p15:clr>
            <a:srgbClr val="F26B43"/>
          </p15:clr>
        </p15:guide>
        <p15:guide id="33" orient="horz" pos="2757">
          <p15:clr>
            <a:srgbClr val="F26B43"/>
          </p15:clr>
        </p15:guide>
        <p15:guide id="34" orient="horz" pos="3308">
          <p15:clr>
            <a:srgbClr val="F26B43"/>
          </p15:clr>
        </p15:guide>
        <p15:guide id="35" orient="horz" pos="3398">
          <p15:clr>
            <a:srgbClr val="F26B43"/>
          </p15:clr>
        </p15:guide>
        <p15:guide id="36" orient="horz" pos="3954">
          <p15:clr>
            <a:srgbClr val="F26B43"/>
          </p15:clr>
        </p15:guide>
        <p15:guide id="37" orient="horz" pos="4044">
          <p15:clr>
            <a:srgbClr val="F26B43"/>
          </p15:clr>
        </p15:guide>
        <p15:guide id="38" orient="horz" pos="4131">
          <p15:clr>
            <a:srgbClr val="F26B43"/>
          </p15:clr>
        </p15:guide>
        <p15:guide id="39" orient="horz" pos="738">
          <p15:clr>
            <a:srgbClr val="F26B43"/>
          </p15:clr>
        </p15:guide>
        <p15:guide id="40" orient="horz" pos="828">
          <p15:clr>
            <a:srgbClr val="F26B43"/>
          </p15:clr>
        </p15:guide>
        <p15:guide id="41" orient="horz" pos="1060">
          <p15:clr>
            <a:srgbClr val="F26B43"/>
          </p15:clr>
        </p15:guide>
        <p15:guide id="42" orient="horz" pos="1148">
          <p15:clr>
            <a:srgbClr val="F26B43"/>
          </p15:clr>
        </p15:guide>
        <p15:guide id="43" orient="horz" pos="1702">
          <p15:clr>
            <a:srgbClr val="F26B43"/>
          </p15:clr>
        </p15:guide>
        <p15:guide id="44" orient="horz" pos="1794">
          <p15:clr>
            <a:srgbClr val="F26B43"/>
          </p15:clr>
        </p15:guide>
        <p15:guide id="45" orient="horz" pos="2346">
          <p15:clr>
            <a:srgbClr val="F26B43"/>
          </p15:clr>
        </p15:guide>
        <p15:guide id="46" orient="horz" pos="2436">
          <p15:clr>
            <a:srgbClr val="F26B43"/>
          </p15:clr>
        </p15:guide>
        <p15:guide id="47" orient="horz" pos="2990">
          <p15:clr>
            <a:srgbClr val="F26B43"/>
          </p15:clr>
        </p15:guide>
        <p15:guide id="48" orient="horz" pos="3080">
          <p15:clr>
            <a:srgbClr val="F26B43"/>
          </p15:clr>
        </p15:guide>
        <p15:guide id="49" orient="horz" pos="3632">
          <p15:clr>
            <a:srgbClr val="F26B43"/>
          </p15:clr>
        </p15:guide>
        <p15:guide id="50" orient="horz" pos="3722">
          <p15:clr>
            <a:srgbClr val="F26B43"/>
          </p15:clr>
        </p15:guide>
        <p15:guide id="51" orient="horz" pos="346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685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1"/>
            <a:ext cx="11610516" cy="394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1942" y="6433878"/>
            <a:ext cx="320674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71D9F931-ED36-50EC-E2EC-55287206CF4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910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57" r:id="rId27"/>
    <p:sldLayoutId id="2147483758" r:id="rId28"/>
    <p:sldLayoutId id="2147483759" r:id="rId29"/>
    <p:sldLayoutId id="2147483760" r:id="rId30"/>
    <p:sldLayoutId id="2147483761" r:id="rId31"/>
    <p:sldLayoutId id="2147483762" r:id="rId32"/>
    <p:sldLayoutId id="2147483763" r:id="rId33"/>
    <p:sldLayoutId id="2147483764" r:id="rId34"/>
    <p:sldLayoutId id="2147483765" r:id="rId35"/>
    <p:sldLayoutId id="2147483766" r:id="rId36"/>
    <p:sldLayoutId id="2147483767" r:id="rId37"/>
    <p:sldLayoutId id="2147483768" r:id="rId38"/>
    <p:sldLayoutId id="2147483769" r:id="rId39"/>
    <p:sldLayoutId id="2147483770" r:id="rId40"/>
    <p:sldLayoutId id="2147483771" r:id="rId41"/>
    <p:sldLayoutId id="2147483772" r:id="rId42"/>
    <p:sldLayoutId id="2147483773" r:id="rId43"/>
    <p:sldLayoutId id="2147483774" r:id="rId44"/>
    <p:sldLayoutId id="2147483775" r:id="rId45"/>
    <p:sldLayoutId id="2147483776" r:id="rId46"/>
    <p:sldLayoutId id="2147483777" r:id="rId47"/>
    <p:sldLayoutId id="2147483778" r:id="rId48"/>
    <p:sldLayoutId id="2147483779" r:id="rId49"/>
    <p:sldLayoutId id="2147483780" r:id="rId50"/>
    <p:sldLayoutId id="2147483781" r:id="rId51"/>
    <p:sldLayoutId id="2147483782" r:id="rId52"/>
    <p:sldLayoutId id="2147483783" r:id="rId53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568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DE53C"/>
          </p15:clr>
        </p15:guide>
        <p15:guide id="2" pos="181">
          <p15:clr>
            <a:srgbClr val="FDE53C"/>
          </p15:clr>
        </p15:guide>
        <p15:guide id="3" pos="708">
          <p15:clr>
            <a:srgbClr val="FDE53C"/>
          </p15:clr>
        </p15:guide>
        <p15:guide id="4" pos="798">
          <p15:clr>
            <a:srgbClr val="FDE53C"/>
          </p15:clr>
        </p15:guide>
        <p15:guide id="5" pos="1325">
          <p15:clr>
            <a:srgbClr val="FDE53C"/>
          </p15:clr>
        </p15:guide>
        <p15:guide id="6" pos="1416">
          <p15:clr>
            <a:srgbClr val="FDE53C"/>
          </p15:clr>
        </p15:guide>
        <p15:guide id="7" pos="1942">
          <p15:clr>
            <a:srgbClr val="FDE53C"/>
          </p15:clr>
        </p15:guide>
        <p15:guide id="8" pos="2032">
          <p15:clr>
            <a:srgbClr val="FDE53C"/>
          </p15:clr>
        </p15:guide>
        <p15:guide id="9" pos="2559">
          <p15:clr>
            <a:srgbClr val="FDE53C"/>
          </p15:clr>
        </p15:guide>
        <p15:guide id="10" pos="2650">
          <p15:clr>
            <a:srgbClr val="FDE53C"/>
          </p15:clr>
        </p15:guide>
        <p15:guide id="11" pos="3176">
          <p15:clr>
            <a:srgbClr val="FDE53C"/>
          </p15:clr>
        </p15:guide>
        <p15:guide id="12" pos="3264">
          <p15:clr>
            <a:srgbClr val="FDE53C"/>
          </p15:clr>
        </p15:guide>
        <p15:guide id="13" pos="3793">
          <p15:clr>
            <a:srgbClr val="FDE53C"/>
          </p15:clr>
        </p15:guide>
        <p15:guide id="14" pos="3884">
          <p15:clr>
            <a:srgbClr val="FDE53C"/>
          </p15:clr>
        </p15:guide>
        <p15:guide id="15" pos="4411">
          <p15:clr>
            <a:srgbClr val="FDE53C"/>
          </p15:clr>
        </p15:guide>
        <p15:guide id="16" pos="4501">
          <p15:clr>
            <a:srgbClr val="FDE53C"/>
          </p15:clr>
        </p15:guide>
        <p15:guide id="17" pos="5028">
          <p15:clr>
            <a:srgbClr val="FDE53C"/>
          </p15:clr>
        </p15:guide>
        <p15:guide id="18" pos="5118">
          <p15:clr>
            <a:srgbClr val="FDE53C"/>
          </p15:clr>
        </p15:guide>
        <p15:guide id="19" pos="5645">
          <p15:clr>
            <a:srgbClr val="FDE53C"/>
          </p15:clr>
        </p15:guide>
        <p15:guide id="20" pos="5735">
          <p15:clr>
            <a:srgbClr val="FDE53C"/>
          </p15:clr>
        </p15:guide>
        <p15:guide id="21" pos="6262">
          <p15:clr>
            <a:srgbClr val="FDE53C"/>
          </p15:clr>
        </p15:guide>
        <p15:guide id="22" pos="6352">
          <p15:clr>
            <a:srgbClr val="FDE53C"/>
          </p15:clr>
        </p15:guide>
        <p15:guide id="23" pos="6879">
          <p15:clr>
            <a:srgbClr val="FDE53C"/>
          </p15:clr>
        </p15:guide>
        <p15:guide id="24" pos="6970">
          <p15:clr>
            <a:srgbClr val="FDE53C"/>
          </p15:clr>
        </p15:guide>
        <p15:guide id="25" pos="7496">
          <p15:clr>
            <a:srgbClr val="FDE53C"/>
          </p15:clr>
        </p15:guide>
        <p15:guide id="28" orient="horz" pos="1382">
          <p15:clr>
            <a:srgbClr val="FDE53C"/>
          </p15:clr>
        </p15:guide>
        <p15:guide id="29" orient="horz" pos="1473">
          <p15:clr>
            <a:srgbClr val="FDE53C"/>
          </p15:clr>
        </p15:guide>
        <p15:guide id="30" orient="horz" pos="2024">
          <p15:clr>
            <a:srgbClr val="FDE53C"/>
          </p15:clr>
        </p15:guide>
        <p15:guide id="31" orient="horz" pos="2115">
          <p15:clr>
            <a:srgbClr val="FDE53C"/>
          </p15:clr>
        </p15:guide>
        <p15:guide id="32" orient="horz" pos="2666">
          <p15:clr>
            <a:srgbClr val="FDE53C"/>
          </p15:clr>
        </p15:guide>
        <p15:guide id="33" orient="horz" pos="2757">
          <p15:clr>
            <a:srgbClr val="FDE53C"/>
          </p15:clr>
        </p15:guide>
        <p15:guide id="34" orient="horz" pos="3308">
          <p15:clr>
            <a:srgbClr val="FDE53C"/>
          </p15:clr>
        </p15:guide>
        <p15:guide id="35" orient="horz" pos="3398">
          <p15:clr>
            <a:srgbClr val="FDE53C"/>
          </p15:clr>
        </p15:guide>
        <p15:guide id="36" orient="horz" pos="3954">
          <p15:clr>
            <a:srgbClr val="FDE53C"/>
          </p15:clr>
        </p15:guide>
        <p15:guide id="37" orient="horz" pos="4044">
          <p15:clr>
            <a:srgbClr val="FDE53C"/>
          </p15:clr>
        </p15:guide>
        <p15:guide id="38" orient="horz" pos="4131">
          <p15:clr>
            <a:srgbClr val="FDE53C"/>
          </p15:clr>
        </p15:guide>
        <p15:guide id="39" orient="horz" pos="738">
          <p15:clr>
            <a:srgbClr val="FDE53C"/>
          </p15:clr>
        </p15:guide>
        <p15:guide id="40" orient="horz" pos="828">
          <p15:clr>
            <a:srgbClr val="FDE53C"/>
          </p15:clr>
        </p15:guide>
        <p15:guide id="41" orient="horz" pos="1060">
          <p15:clr>
            <a:srgbClr val="FDE53C"/>
          </p15:clr>
        </p15:guide>
        <p15:guide id="42" orient="horz" pos="1148">
          <p15:clr>
            <a:srgbClr val="FDE53C"/>
          </p15:clr>
        </p15:guide>
        <p15:guide id="43" orient="horz" pos="1702">
          <p15:clr>
            <a:srgbClr val="FDE53C"/>
          </p15:clr>
        </p15:guide>
        <p15:guide id="44" orient="horz" pos="1794">
          <p15:clr>
            <a:srgbClr val="FDE53C"/>
          </p15:clr>
        </p15:guide>
        <p15:guide id="45" orient="horz" pos="2346">
          <p15:clr>
            <a:srgbClr val="FDE53C"/>
          </p15:clr>
        </p15:guide>
        <p15:guide id="46" orient="horz" pos="2436">
          <p15:clr>
            <a:srgbClr val="FDE53C"/>
          </p15:clr>
        </p15:guide>
        <p15:guide id="47" orient="horz" pos="2990">
          <p15:clr>
            <a:srgbClr val="FDE53C"/>
          </p15:clr>
        </p15:guide>
        <p15:guide id="48" orient="horz" pos="3080">
          <p15:clr>
            <a:srgbClr val="FDE53C"/>
          </p15:clr>
        </p15:guide>
        <p15:guide id="49" orient="horz" pos="3632">
          <p15:clr>
            <a:srgbClr val="FDE53C"/>
          </p15:clr>
        </p15:guide>
        <p15:guide id="50" orient="horz" pos="3722">
          <p15:clr>
            <a:srgbClr val="FDE53C"/>
          </p15:clr>
        </p15:guide>
        <p15:guide id="51" orient="horz" pos="380">
          <p15:clr>
            <a:srgbClr val="547EBF"/>
          </p15:clr>
        </p15:guide>
        <p15:guide id="52" pos="7172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F969_F20EA9AA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F968_1F88548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F96C_24EDD67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F964_25EF7F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96B_A64FB75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Zhuoxin.Yu@bms.com" TargetMode="External"/><Relationship Id="rId2" Type="http://schemas.openxmlformats.org/officeDocument/2006/relationships/hyperlink" Target="mailto:Palanikumar.Ravindran@bms.com" TargetMode="External"/><Relationship Id="rId1" Type="http://schemas.openxmlformats.org/officeDocument/2006/relationships/slideLayout" Target="../slideLayouts/slideLayout17.xml"/><Relationship Id="rId5" Type="http://schemas.openxmlformats.org/officeDocument/2006/relationships/hyperlink" Target="mailto:Kyle.Wathen@cytel.com" TargetMode="External"/><Relationship Id="rId4" Type="http://schemas.openxmlformats.org/officeDocument/2006/relationships/hyperlink" Target="mailto:inna.perevozskaya@bms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5EC91AC-C302-AEC3-1CD4-A5616037B7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2670"/>
            <a:ext cx="10742674" cy="5949386"/>
          </a:xfrm>
        </p:spPr>
        <p:txBody>
          <a:bodyPr/>
          <a:lstStyle/>
          <a:p>
            <a:r>
              <a:rPr lang="en-US" sz="8000"/>
              <a:t>ASA BIOP SWG</a:t>
            </a:r>
            <a:br>
              <a:rPr lang="en-US" sz="8000"/>
            </a:br>
            <a:r>
              <a:rPr lang="en-US" sz="8000"/>
              <a:t>EFFICIENCY+: Enhancing Clinical Trial Operations Through Advanced Statistics</a:t>
            </a:r>
            <a:br>
              <a:rPr lang="en-US" sz="8000"/>
            </a:br>
            <a:endParaRPr lang="en-US" sz="8000" noProof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8D00CAB-6CD1-F917-8791-A1C15D7038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5A1CE5-5CB3-7761-DE4C-363F57A6A1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3246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496DA8-60ED-7D11-D5D0-9ACF97FF65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CB3027C-0AD8-BF87-B962-810D2FB11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2" y="262267"/>
            <a:ext cx="9632445" cy="468590"/>
          </a:xfrm>
        </p:spPr>
        <p:txBody>
          <a:bodyPr/>
          <a:lstStyle/>
          <a:p>
            <a:r>
              <a:rPr lang="en-US" dirty="0"/>
              <a:t>Role of GenAI</a:t>
            </a:r>
            <a:endParaRPr lang="en-US" noProof="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0048E25-F4A6-8759-E522-C8A832FA48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ite and Patient Recruitment Optimization</a:t>
            </a:r>
          </a:p>
          <a:p>
            <a:pPr marL="857250" lvl="2"/>
            <a:r>
              <a:rPr lang="en-US" sz="26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GenAI ranks potential new sites not just by previous enrollment, but by nuanced signals (staff turnover, trial competition, seasonal patterns).</a:t>
            </a:r>
          </a:p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isk-Based Monitoring and Anomaly Detection</a:t>
            </a:r>
          </a:p>
          <a:p>
            <a:pPr marL="857250" lvl="2"/>
            <a:r>
              <a:rPr lang="en-US" sz="26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Monitor operational trial data streams (e.g., visit schedules, protocol deviations, screen failure rates) and generate alerts or summaries of anomalies before they escalate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7F0368-C82A-7942-4DB9-D10CFECF0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104721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176294-79C1-C842-7927-EDD63985B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F1652224-7AFD-7B63-9633-70592C46E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11323594" cy="428451"/>
          </a:xfrm>
        </p:spPr>
        <p:txBody>
          <a:bodyPr/>
          <a:lstStyle/>
          <a:p>
            <a:r>
              <a:rPr lang="en-US" sz="3200"/>
              <a:t>Executive Summary and Status Update</a:t>
            </a:r>
            <a:endParaRPr lang="en-US" sz="3200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A00442-2C3F-696D-7683-A21CD8181C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302" y="1145922"/>
            <a:ext cx="11610516" cy="3943349"/>
          </a:xfrm>
        </p:spPr>
        <p:txBody>
          <a:bodyPr/>
          <a:lstStyle/>
          <a:p>
            <a:pPr marL="342900" marR="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SA BIOP SWG proposal on operational efficiency was approved by ASA BIOP Section EC (April 2025)</a:t>
            </a:r>
          </a:p>
          <a:p>
            <a:pPr marL="342900" marR="0" indent="-342900"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o-chairs</a:t>
            </a:r>
          </a:p>
          <a:p>
            <a:pPr marL="628650" lvl="1" indent="-342900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Fei Chen (JJIM), Bohdana Ratitch (Bayer)</a:t>
            </a:r>
          </a:p>
          <a:p>
            <a:pPr marL="342900" marR="0" indent="-342900"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WG name</a:t>
            </a:r>
          </a:p>
          <a:p>
            <a:pPr marL="628650" lvl="1" indent="-342900"/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fficiency+: Enhancing clinical trial operations with advanced statistics</a:t>
            </a:r>
            <a:endParaRPr lang="en-US" sz="2000" dirty="0"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342900" marR="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mmediate to-dos</a:t>
            </a:r>
          </a:p>
          <a:p>
            <a:pPr marL="628650" lvl="1" indent="-342900"/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dentify workstreams</a:t>
            </a:r>
          </a:p>
          <a:p>
            <a:pPr marL="628650" lvl="1" indent="-342900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cruit core-team members and organize subcommittees for different workstreams</a:t>
            </a:r>
          </a:p>
          <a:p>
            <a:pPr marL="628650" lvl="1" indent="-342900"/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stablish legal framework </a:t>
            </a:r>
            <a:r>
              <a:rPr lang="en-US" sz="20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for cross-company </a:t>
            </a:r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ollaboration</a:t>
            </a:r>
            <a:endParaRPr lang="en-US" sz="2000" dirty="0"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628650" lvl="1" indent="-342900"/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n-line presence</a:t>
            </a:r>
          </a:p>
          <a:p>
            <a:pPr marL="914400" lvl="2" indent="-342900"/>
            <a:r>
              <a:rPr lang="en-US" sz="1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Update https://community.amstat.org/biop/workinggroups</a:t>
            </a:r>
          </a:p>
          <a:p>
            <a:pPr marL="857250" lvl="2"/>
            <a:r>
              <a:rPr lang="en-US" sz="1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WG Information page hosted on https://efficiencyplustrials.github.io/</a:t>
            </a:r>
          </a:p>
          <a:p>
            <a:pPr marL="857250" lvl="2"/>
            <a:r>
              <a:rPr lang="en-US" sz="1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WG access-only </a:t>
            </a:r>
            <a:r>
              <a:rPr lang="en-US" sz="1800" dirty="0" err="1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github</a:t>
            </a:r>
            <a:r>
              <a:rPr lang="en-US" sz="1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repository </a:t>
            </a:r>
          </a:p>
          <a:p>
            <a:pPr marL="857250" lvl="2"/>
            <a:r>
              <a:rPr lang="en-US" sz="1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LinkedIn, X?</a:t>
            </a:r>
            <a:endParaRPr lang="en-US" sz="1800" dirty="0"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5D1216-B8EE-3315-94DE-563AE5EA6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6426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F4295C-3FB4-90E7-13B2-F604F2E814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A895E0CF-61E7-2533-2BB5-898BD7070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11323594" cy="847027"/>
          </a:xfrm>
        </p:spPr>
        <p:txBody>
          <a:bodyPr/>
          <a:lstStyle/>
          <a:p>
            <a:r>
              <a:rPr lang="en-US" sz="3200" noProof="0"/>
              <a:t>Intro and Vision:  Help drive the future of efficient clinical trials</a:t>
            </a:r>
            <a:br>
              <a:rPr lang="en-US" sz="3200" noProof="0"/>
            </a:br>
            <a:endParaRPr lang="en-US" sz="3200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B1C6394-5795-5F1F-5386-BE0A55CA0D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302" y="1145922"/>
            <a:ext cx="11610516" cy="5612687"/>
          </a:xfrm>
        </p:spPr>
        <p:txBody>
          <a:bodyPr/>
          <a:lstStyle/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Why?</a:t>
            </a:r>
            <a:endParaRPr lang="en-US" sz="20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628650" lvl="1" indent="-342900">
              <a:buFont typeface="Verdana" panose="020B0604030504040204" pitchFamily="34" charset="0"/>
              <a:buChar char="-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trials are increasingly operationally complex and costly.</a:t>
            </a:r>
          </a:p>
          <a:p>
            <a:pPr marL="628650" lvl="1" indent="-342900">
              <a:buFont typeface="Verdana" panose="020B0604030504040204" pitchFamily="34" charset="0"/>
              <a:buChar char="-"/>
            </a:pPr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mall incremental gains in efficiency,  even at 1-2%, have the potential to bring substantial savings</a:t>
            </a:r>
            <a:endParaRPr lang="en-US" sz="2000" dirty="0"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628650" lvl="1" indent="-342900">
              <a:buFont typeface="Verdana" panose="020B0604030504040204" pitchFamily="34" charset="0"/>
              <a:buChar char="-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tatistical innovation can unlock faster, more </a:t>
            </a:r>
            <a:r>
              <a:rPr lang="en-US" sz="2000" dirty="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fficient</a:t>
            </a: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trial execution.</a:t>
            </a:r>
          </a:p>
          <a:p>
            <a:pPr marL="628650" lvl="1" indent="-342900">
              <a:buFont typeface="Verdana" panose="020B0604030504040204" pitchFamily="34" charset="0"/>
              <a:buChar char="-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Need for actionable methods in patient enrollment, monitoring and risk mitigation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Vision</a:t>
            </a:r>
          </a:p>
          <a:p>
            <a:pPr marL="628650" lvl="1" indent="-342900">
              <a:buFont typeface="Verdana" panose="020B0604030504040204" pitchFamily="34" charset="0"/>
              <a:buChar char="-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stablish a </a:t>
            </a:r>
            <a:r>
              <a:rPr lang="en-US" sz="2000" dirty="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ross-pharma</a:t>
            </a: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hub for statisticians, trial operations and regulatory </a:t>
            </a:r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rofessionals</a:t>
            </a: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.</a:t>
            </a:r>
          </a:p>
          <a:p>
            <a:pPr marL="628650" lvl="1" indent="-342900">
              <a:buFont typeface="Verdana" panose="020B0604030504040204" pitchFamily="34" charset="0"/>
              <a:buChar char="-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dvance </a:t>
            </a:r>
            <a:r>
              <a:rPr lang="en-US" sz="2000" dirty="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ractical</a:t>
            </a: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solutions to </a:t>
            </a:r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mprove</a:t>
            </a: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trial efficiency, reduce costs, and accelerate timelines.</a:t>
            </a:r>
          </a:p>
          <a:p>
            <a:pPr marL="628650" lvl="1" indent="-342900">
              <a:buFont typeface="Verdana" panose="020B0604030504040204" pitchFamily="34" charset="0"/>
              <a:buChar char="-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fluence industry practice and shape regulatory acceptance of statistical operational innovations</a:t>
            </a:r>
          </a:p>
          <a:p>
            <a:pPr marL="342900" marR="0" indent="-342900"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mpact</a:t>
            </a:r>
          </a:p>
          <a:p>
            <a:pPr marL="628650" lvl="1" indent="-342900">
              <a:buFont typeface="Verdana" panose="020B0604030504040204" pitchFamily="34" charset="0"/>
              <a:buChar char="-"/>
            </a:pPr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fluence </a:t>
            </a:r>
            <a:r>
              <a:rPr lang="en-US" sz="2000" dirty="0">
                <a:solidFill>
                  <a:srgbClr val="FF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gulatory</a:t>
            </a:r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thinking on trial operational methods</a:t>
            </a:r>
          </a:p>
          <a:p>
            <a:pPr marL="628650" lvl="1" indent="-342900">
              <a:buFont typeface="Verdana" panose="020B0604030504040204" pitchFamily="34" charset="0"/>
              <a:buChar char="-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Best practice and </a:t>
            </a:r>
            <a:r>
              <a:rPr lang="en-US" sz="2000" dirty="0">
                <a:effectLst/>
                <a:latin typeface="Segoe UI" panose="020B0502040204020203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</a:t>
            </a:r>
            <a:r>
              <a:rPr lang="en-US" sz="1800" dirty="0">
                <a:effectLst/>
                <a:latin typeface="Segoe UI" panose="020B0502040204020203" pitchFamily="34" charset="0"/>
              </a:rPr>
              <a:t>ctionable methods for patient enrollment forecast, monitoring, and risk mitigation</a:t>
            </a:r>
            <a:endParaRPr lang="en-US" sz="2000" dirty="0"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628650" lvl="1" indent="-342900">
              <a:buFont typeface="Verdana" panose="020B0604030504040204" pitchFamily="34" charset="0"/>
              <a:buChar char="-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pen-source tool</a:t>
            </a:r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kit</a:t>
            </a:r>
            <a:endParaRPr lang="en-US" sz="2000" dirty="0"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B5D934-FC23-EB4C-742F-7E755EC08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2291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AB9ABD-FC00-EAB3-F7EB-4A9BEDBFB9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E93BE5AF-100D-4FC7-E76A-2FB32AB66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7528342" cy="926407"/>
          </a:xfrm>
        </p:spPr>
        <p:txBody>
          <a:bodyPr/>
          <a:lstStyle/>
          <a:p>
            <a:r>
              <a:rPr lang="en-US" noProof="0" dirty="0"/>
              <a:t>Desired Membership Representa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0CD64B5-B4D5-62D4-01F3-D79FE80E6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Operations Champion (non-statistician)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Trial Statistician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perational Data Experts (CTMS/EDC/KPI)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oftware Platform Experts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gulatory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cademic Methodologist (e.g., </a:t>
            </a:r>
            <a:r>
              <a:rPr lang="en-US" sz="26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l-Time Monitoring Analytics)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supp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935DBD-ABBE-E456-F5FE-6131C8BC0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645283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CB6835-11D4-5DCF-18E4-D07D593636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14C5C1E8-BBFA-0CBA-1B96-A8044D2C7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2" y="262267"/>
            <a:ext cx="9632445" cy="926407"/>
          </a:xfrm>
        </p:spPr>
        <p:txBody>
          <a:bodyPr/>
          <a:lstStyle/>
          <a:p>
            <a:r>
              <a:rPr lang="en-US" dirty="0"/>
              <a:t>D</a:t>
            </a:r>
            <a:r>
              <a:rPr lang="en-US" noProof="0" dirty="0" err="1"/>
              <a:t>eliverables</a:t>
            </a:r>
            <a:r>
              <a:rPr lang="en-US" noProof="0" dirty="0"/>
              <a:t> </a:t>
            </a:r>
            <a:r>
              <a:rPr lang="en-US" dirty="0"/>
              <a:t>with </a:t>
            </a:r>
            <a:r>
              <a:rPr lang="en-US" noProof="0" dirty="0"/>
              <a:t>Industry Impact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85B493F-A540-C578-946D-466E8B6B71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989249"/>
            <a:ext cx="11610516" cy="5496886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tatistics in Biopharmaceutical Research special issue?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SA BIOP newsletter article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JSM/ENAR/ASA BIOP RISW Workshop 2026 session(s)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COPE/CRO/CTI Summit 2026 presentations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“Operational Efficiency Statistical Innovation Toolkit”</a:t>
            </a:r>
          </a:p>
          <a:p>
            <a:pPr marL="1028700" lvl="2" indent="-457200">
              <a:buFont typeface="Verdana" panose="020B0604030504040204" pitchFamily="34" charset="0"/>
              <a:buChar char="-"/>
            </a:pP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 repository of models, code, guidelines, examples and presentations </a:t>
            </a:r>
          </a:p>
          <a:p>
            <a:pPr marL="1028700" lvl="2" indent="-457200">
              <a:buFont typeface="Verdana" panose="020B0604030504040204" pitchFamily="34" charset="0"/>
              <a:buChar char="-"/>
            </a:pP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Legal-approved by respective participating companies</a:t>
            </a:r>
          </a:p>
          <a:p>
            <a:pPr marL="1028700" lvl="2" indent="-457200">
              <a:buFont typeface="Verdana" panose="020B0604030504040204" pitchFamily="34" charset="0"/>
              <a:buChar char="-"/>
            </a:pP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im to be cited across industry as the go-to reference</a:t>
            </a:r>
          </a:p>
          <a:p>
            <a:pPr marL="857250" lvl="2"/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BC194A-23A3-C89F-F6C5-C1ABC1D71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024212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123722-D100-EDDD-CAA2-1C8DB125AD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2A5EE91B-D436-64AA-7A75-D9066CC2B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7970794" cy="1410386"/>
          </a:xfrm>
        </p:spPr>
        <p:txBody>
          <a:bodyPr/>
          <a:lstStyle/>
          <a:p>
            <a:r>
              <a:rPr lang="en-US" noProof="0" dirty="0"/>
              <a:t>Timeline: </a:t>
            </a:r>
            <a:r>
              <a:rPr lang="en-US" sz="36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Focus in the first 18 Months</a:t>
            </a:r>
            <a:br>
              <a:rPr lang="en-US" sz="36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</a:br>
            <a:endParaRPr lang="en-US" noProof="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7A569F9-8642-7C90-A9D2-485234A94D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arly wins with presentations/short courses/webinars</a:t>
            </a:r>
          </a:p>
          <a:p>
            <a:pPr marL="571500" lvl="1"/>
            <a:r>
              <a:rPr lang="en-US" sz="3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l-world usage (tools, case studies)</a:t>
            </a:r>
          </a:p>
          <a:p>
            <a:pPr marL="571500" lvl="1"/>
            <a:r>
              <a:rPr lang="en-US" sz="3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Gaps</a:t>
            </a:r>
          </a:p>
          <a:p>
            <a:pPr marL="571500" lvl="1"/>
            <a:r>
              <a:rPr lang="en-US" sz="3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Thought leadership</a:t>
            </a:r>
          </a:p>
          <a:p>
            <a:pPr marL="571500" lvl="1"/>
            <a:r>
              <a:rPr lang="en-US" sz="3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Toolkit and public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9C3005-E705-A6AF-B6EC-03F2717C5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1027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B4D3C2-1DF0-2E03-6080-F0B47EDF1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18F7DE0A-7750-84AE-59F1-D164BEF28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/>
              <a:t>Timeli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761560-F298-2509-C923-48BC71C65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7</a:t>
            </a:fld>
            <a:endParaRPr lang="en-GB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A4EEE8C-11D9-4929-62BA-AE2F4DDC32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6720799"/>
              </p:ext>
            </p:extLst>
          </p:nvPr>
        </p:nvGraphicFramePr>
        <p:xfrm>
          <a:off x="141209" y="1006585"/>
          <a:ext cx="11906865" cy="533163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6290">
                  <a:extLst>
                    <a:ext uri="{9D8B030D-6E8A-4147-A177-3AD203B41FA5}">
                      <a16:colId xmlns:a16="http://schemas.microsoft.com/office/drawing/2014/main" val="1238702808"/>
                    </a:ext>
                  </a:extLst>
                </a:gridCol>
                <a:gridCol w="1908099">
                  <a:extLst>
                    <a:ext uri="{9D8B030D-6E8A-4147-A177-3AD203B41FA5}">
                      <a16:colId xmlns:a16="http://schemas.microsoft.com/office/drawing/2014/main" val="196721818"/>
                    </a:ext>
                  </a:extLst>
                </a:gridCol>
                <a:gridCol w="8302476">
                  <a:extLst>
                    <a:ext uri="{9D8B030D-6E8A-4147-A177-3AD203B41FA5}">
                      <a16:colId xmlns:a16="http://schemas.microsoft.com/office/drawing/2014/main" val="2758332393"/>
                    </a:ext>
                  </a:extLst>
                </a:gridCol>
              </a:tblGrid>
              <a:tr h="769153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Timeline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What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How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617040056"/>
                  </a:ext>
                </a:extLst>
              </a:tr>
              <a:tr h="827649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Month 0–1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Launch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 err="1">
                          <a:effectLst/>
                        </a:rPr>
                        <a:t>Linkedin</a:t>
                      </a:r>
                      <a:endParaRPr lang="en-US" sz="2000" dirty="0">
                        <a:effectLst/>
                      </a:endParaRP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 err="1">
                          <a:effectLst/>
                        </a:rPr>
                        <a:t>github</a:t>
                      </a:r>
                      <a:r>
                        <a:rPr lang="en-US" sz="2000" dirty="0">
                          <a:effectLst/>
                        </a:rPr>
                        <a:t>, https://efficiencyplustrials.github.io/</a:t>
                      </a: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recruit core team members</a:t>
                      </a: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Identify and organize initial subcommittees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983944694"/>
                  </a:ext>
                </a:extLst>
              </a:tr>
              <a:tr h="769078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Month 1–2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Kick off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Set vision, assign subcommittees goals, plan easy wins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2581408535"/>
                  </a:ext>
                </a:extLst>
              </a:tr>
              <a:tr h="894735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Month 2–6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Work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Start working on ???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888090358"/>
                  </a:ext>
                </a:extLst>
              </a:tr>
              <a:tr h="589935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Month 6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BASS 2025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>
                          <a:effectLst/>
                        </a:rPr>
                        <a:t>Short course on enrollment monitoring</a:t>
                      </a: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362056395"/>
                  </a:ext>
                </a:extLst>
              </a:tr>
              <a:tr h="727588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Month 12-18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endParaRPr lang="en-US" sz="200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latin typeface="Aptos" panose="020B0004020202020204" pitchFamily="34" charset="0"/>
                          <a:ea typeface="Times New Roman" panose="02020603050405020304" pitchFamily="18" charset="0"/>
                          <a:cs typeface="Aptos" panose="020B0004020202020204" pitchFamily="34" charset="0"/>
                        </a:rPr>
                        <a:t>Establish leadership and expand influence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2265028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8807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680197-BC83-6D9A-4F38-ED5EBB9C31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8B3B4F9-2A7F-6395-6F46-14C921F317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2670"/>
            <a:ext cx="10742674" cy="1024961"/>
          </a:xfrm>
        </p:spPr>
        <p:txBody>
          <a:bodyPr/>
          <a:lstStyle/>
          <a:p>
            <a:r>
              <a:rPr lang="en-US" sz="8000" dirty="0"/>
              <a:t>Back up</a:t>
            </a:r>
            <a:endParaRPr lang="en-US" sz="8000" noProof="0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0050A0B-0DC8-ADC6-7E4B-021E209EFE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85EED62-B9B8-F2DB-DC92-BBA3B3F51C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0245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06061D-058B-04F6-29B2-2C311AD0E3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D298B24-D0A2-AC8A-FC97-3632E95C9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2" y="262267"/>
            <a:ext cx="9876423" cy="926407"/>
          </a:xfrm>
        </p:spPr>
        <p:txBody>
          <a:bodyPr/>
          <a:lstStyle/>
          <a:p>
            <a:r>
              <a:rPr lang="en-US" noProof="0" dirty="0"/>
              <a:t>Potential groups/people to reach out to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91B2009-8488-8338-A7E0-B4EE8CB1A2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BSLC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BGIA or CSC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bbVie expressed interest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Volodymyr Anisimov, </a:t>
            </a:r>
            <a:r>
              <a:rPr lang="en-US" sz="2800" dirty="0"/>
              <a:t>vanisimov@amgen.com</a:t>
            </a:r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alanikumar Ravindran, 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2"/>
              </a:rPr>
              <a:t>Palanikumar.Ravindran@bms.com</a:t>
            </a:r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800" dirty="0" err="1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Zhuoxin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Yu, 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3"/>
              </a:rPr>
              <a:t>Zhuoxin.Yu@bms.com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.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na </a:t>
            </a:r>
            <a:r>
              <a:rPr lang="en-US" sz="2800" dirty="0" err="1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erevozskaya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, 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4"/>
              </a:rPr>
              <a:t>inna.perevozskaya@bms.com</a:t>
            </a:r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Kyle Wathen, 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5"/>
              </a:rPr>
              <a:t>Kyle.Wathen@cytel.com</a:t>
            </a:r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3EABDF-452C-F56D-69E1-6FB6F77D1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8880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Johnson and Johnson">
  <a:themeElements>
    <a:clrScheme name="JNJ">
      <a:dk1>
        <a:srgbClr val="000000"/>
      </a:dk1>
      <a:lt1>
        <a:srgbClr val="FFFFFF"/>
      </a:lt1>
      <a:dk2>
        <a:srgbClr val="EB1700"/>
      </a:dk2>
      <a:lt2>
        <a:srgbClr val="564C47"/>
      </a:lt2>
      <a:accent1>
        <a:srgbClr val="EB1700"/>
      </a:accent1>
      <a:accent2>
        <a:srgbClr val="000000"/>
      </a:accent2>
      <a:accent3>
        <a:srgbClr val="C4BDB6"/>
      </a:accent3>
      <a:accent4>
        <a:srgbClr val="004686"/>
      </a:accent4>
      <a:accent5>
        <a:srgbClr val="68D2FF"/>
      </a:accent5>
      <a:accent6>
        <a:srgbClr val="541981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triangl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JNJ_PPT_Template_R4_v3" id="{416AD5BC-E677-7649-BDD5-4B24D3B639BA}" vid="{CC5F65D7-BC33-A645-9363-0F7209EECF07}"/>
    </a:ext>
  </a:extLst>
</a:theme>
</file>

<file path=ppt/theme/theme2.xml><?xml version="1.0" encoding="utf-8"?>
<a:theme xmlns:a="http://schemas.openxmlformats.org/drawingml/2006/main" name="Johnson and Johnson: Innovative Medicine">
  <a:themeElements>
    <a:clrScheme name="Johnson and Johnson 1">
      <a:dk1>
        <a:srgbClr val="000000"/>
      </a:dk1>
      <a:lt1>
        <a:srgbClr val="FFFFFF"/>
      </a:lt1>
      <a:dk2>
        <a:srgbClr val="F9F7F6"/>
      </a:dk2>
      <a:lt2>
        <a:srgbClr val="564C47"/>
      </a:lt2>
      <a:accent1>
        <a:srgbClr val="EB1700"/>
      </a:accent1>
      <a:accent2>
        <a:srgbClr val="000000"/>
      </a:accent2>
      <a:accent3>
        <a:srgbClr val="C1BBB3"/>
      </a:accent3>
      <a:accent4>
        <a:srgbClr val="004685"/>
      </a:accent4>
      <a:accent5>
        <a:srgbClr val="69D0FF"/>
      </a:accent5>
      <a:accent6>
        <a:srgbClr val="541980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9" id="{3FF63EC5-8330-9F44-869C-1FA3CFA3DBF9}" vid="{2C9F9779-7CC1-0B4D-A9C5-68DC31FC790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7B53FE8582E34E9AFB5C127B74F85C" ma:contentTypeVersion="17" ma:contentTypeDescription="Create a new document." ma:contentTypeScope="" ma:versionID="c40066f5d4cd8086abf319e9a6a2bdfd">
  <xsd:schema xmlns:xsd="http://www.w3.org/2001/XMLSchema" xmlns:xs="http://www.w3.org/2001/XMLSchema" xmlns:p="http://schemas.microsoft.com/office/2006/metadata/properties" xmlns:ns2="5d8367f4-c68e-4a97-a9ba-2d7451eb6103" xmlns:ns3="f1735117-a50b-434e-871a-15319865d687" targetNamespace="http://schemas.microsoft.com/office/2006/metadata/properties" ma:root="true" ma:fieldsID="af97b16205e1aec697c7ffc5288f0912" ns2:_="" ns3:_="">
    <xsd:import namespace="5d8367f4-c68e-4a97-a9ba-2d7451eb6103"/>
    <xsd:import namespace="f1735117-a50b-434e-871a-15319865d6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8367f4-c68e-4a97-a9ba-2d7451eb61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e82b97c-6a8a-4995-9eb5-298aced380b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735117-a50b-434e-871a-15319865d68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d8367f4-c68e-4a97-a9ba-2d7451eb610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559FB84-1A92-44F0-B4A6-0FDA07A98296}">
  <ds:schemaRefs>
    <ds:schemaRef ds:uri="5d8367f4-c68e-4a97-a9ba-2d7451eb6103"/>
    <ds:schemaRef ds:uri="f1735117-a50b-434e-871a-15319865d68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F37A32B-E6C6-465A-B463-FEEC22D17C4F}">
  <ds:schemaRefs>
    <ds:schemaRef ds:uri="5d8367f4-c68e-4a97-a9ba-2d7451eb6103"/>
    <ds:schemaRef ds:uri="f1735117-a50b-434e-871a-15319865d68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81CB736-9F87-451D-8352-E24F56588A3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ca48ea3-8c75-4d36-b64f-70604b11fd22}" enabled="1" method="Standard" siteId="{3ac94b33-9135-4821-9502-eafda6592a3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5</TotalTime>
  <Words>594</Words>
  <Application>Microsoft Office PowerPoint</Application>
  <PresentationFormat>Widescreen</PresentationFormat>
  <Paragraphs>101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ptos</vt:lpstr>
      <vt:lpstr>Arial</vt:lpstr>
      <vt:lpstr>Johnson Display</vt:lpstr>
      <vt:lpstr>Johnson Text</vt:lpstr>
      <vt:lpstr>Segoe UI</vt:lpstr>
      <vt:lpstr>Times New Roman</vt:lpstr>
      <vt:lpstr>Verdana</vt:lpstr>
      <vt:lpstr>Johnson and Johnson</vt:lpstr>
      <vt:lpstr>Johnson and Johnson: Innovative Medicine</vt:lpstr>
      <vt:lpstr>think-cell Slide</vt:lpstr>
      <vt:lpstr>ASA BIOP SWG EFFICIENCY+: Enhancing Clinical Trial Operations Through Advanced Statistics </vt:lpstr>
      <vt:lpstr>Executive Summary and Status Update</vt:lpstr>
      <vt:lpstr>Intro and Vision:  Help drive the future of efficient clinical trials </vt:lpstr>
      <vt:lpstr>Desired Membership Representation</vt:lpstr>
      <vt:lpstr>Deliverables with Industry Impact </vt:lpstr>
      <vt:lpstr>Timeline: Focus in the first 18 Months </vt:lpstr>
      <vt:lpstr>Timeline</vt:lpstr>
      <vt:lpstr>Back up</vt:lpstr>
      <vt:lpstr>Potential groups/people to reach out to</vt:lpstr>
      <vt:lpstr>Role of GenA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hancing PRD with discontinuation risk predictive modeling</dc:title>
  <dc:creator>Chen, Fei [JRDUS]</dc:creator>
  <cp:lastModifiedBy>Chen, Fei [JRDUS]</cp:lastModifiedBy>
  <cp:revision>6</cp:revision>
  <dcterms:created xsi:type="dcterms:W3CDTF">2024-10-16T14:30:22Z</dcterms:created>
  <dcterms:modified xsi:type="dcterms:W3CDTF">2025-05-08T14:1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7B53FE8582E34E9AFB5C127B74F85C</vt:lpwstr>
  </property>
  <property fmtid="{D5CDD505-2E9C-101B-9397-08002B2CF9AE}" pid="3" name="MediaServiceImageTags">
    <vt:lpwstr/>
  </property>
</Properties>
</file>